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9" r:id="rId4"/>
  </p:sldMasterIdLst>
  <p:notesMasterIdLst>
    <p:notesMasterId r:id="rId24"/>
  </p:notesMasterIdLst>
  <p:handoutMasterIdLst>
    <p:handoutMasterId r:id="rId25"/>
  </p:handoutMasterIdLst>
  <p:sldIdLst>
    <p:sldId id="1885" r:id="rId5"/>
    <p:sldId id="1882" r:id="rId6"/>
    <p:sldId id="1875" r:id="rId7"/>
    <p:sldId id="1874" r:id="rId8"/>
    <p:sldId id="1891" r:id="rId9"/>
    <p:sldId id="1892" r:id="rId10"/>
    <p:sldId id="1903" r:id="rId11"/>
    <p:sldId id="1893" r:id="rId12"/>
    <p:sldId id="1894" r:id="rId13"/>
    <p:sldId id="1902" r:id="rId14"/>
    <p:sldId id="1895" r:id="rId15"/>
    <p:sldId id="1896" r:id="rId16"/>
    <p:sldId id="1899" r:id="rId17"/>
    <p:sldId id="1897" r:id="rId18"/>
    <p:sldId id="1906" r:id="rId19"/>
    <p:sldId id="1904" r:id="rId20"/>
    <p:sldId id="1900" r:id="rId21"/>
    <p:sldId id="1901" r:id="rId22"/>
    <p:sldId id="1905" r:id="rId23"/>
  </p:sldIdLst>
  <p:sldSz cx="9144000" cy="6858000" type="screen4x3"/>
  <p:notesSz cx="7010400" cy="92233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4060"/>
    <a:srgbClr val="ECEEF0"/>
    <a:srgbClr val="132647"/>
    <a:srgbClr val="0071BD"/>
    <a:srgbClr val="B0A345"/>
    <a:srgbClr val="003A60"/>
    <a:srgbClr val="FF9331"/>
    <a:srgbClr val="0092F6"/>
    <a:srgbClr val="29A8FF"/>
    <a:srgbClr val="57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05" autoAdjust="0"/>
    <p:restoredTop sz="99856" autoAdjust="0"/>
  </p:normalViewPr>
  <p:slideViewPr>
    <p:cSldViewPr snapToGrid="0" showGuides="1">
      <p:cViewPr>
        <p:scale>
          <a:sx n="100" d="100"/>
          <a:sy n="100" d="100"/>
        </p:scale>
        <p:origin x="-558" y="-72"/>
      </p:cViewPr>
      <p:guideLst>
        <p:guide orient="horz" pos="947"/>
        <p:guide orient="horz" pos="3567"/>
        <p:guide orient="horz" pos="4169"/>
        <p:guide orient="horz" pos="860"/>
        <p:guide pos="146"/>
        <p:guide pos="5596"/>
        <p:guide pos="2974"/>
        <p:guide pos="2798"/>
        <p:guide pos="5486"/>
      </p:guideLst>
    </p:cSldViewPr>
  </p:slideViewPr>
  <p:outlineViewPr>
    <p:cViewPr>
      <p:scale>
        <a:sx n="33" d="100"/>
        <a:sy n="33" d="100"/>
      </p:scale>
      <p:origin x="0" y="80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-2070" y="-108"/>
      </p:cViewPr>
      <p:guideLst>
        <p:guide orient="horz" pos="2905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9331"/>
              </a:solidFill>
            </c:spPr>
          </c:dPt>
          <c:dPt>
            <c:idx val="1"/>
            <c:bubble3D val="0"/>
            <c:spPr>
              <a:solidFill>
                <a:srgbClr val="0071BD"/>
              </a:solidFill>
            </c:spPr>
          </c:dPt>
          <c:dPt>
            <c:idx val="2"/>
            <c:bubble3D val="0"/>
            <c:spPr>
              <a:solidFill>
                <a:srgbClr val="FF9331"/>
              </a:solidFill>
            </c:spPr>
          </c:dPt>
          <c:dPt>
            <c:idx val="3"/>
            <c:bubble3D val="0"/>
            <c:spPr>
              <a:solidFill>
                <a:srgbClr val="0071BD"/>
              </a:solidFill>
            </c:spPr>
          </c:dPt>
          <c:dPt>
            <c:idx val="4"/>
            <c:bubble3D val="0"/>
            <c:spPr>
              <a:solidFill>
                <a:srgbClr val="FF9331"/>
              </a:solidFill>
            </c:spPr>
          </c:dPt>
          <c:dPt>
            <c:idx val="5"/>
            <c:bubble3D val="0"/>
            <c:spPr>
              <a:solidFill>
                <a:srgbClr val="0071BD"/>
              </a:solidFill>
            </c:spPr>
          </c:dPt>
          <c:dPt>
            <c:idx val="6"/>
            <c:bubble3D val="0"/>
            <c:spPr>
              <a:solidFill>
                <a:srgbClr val="FF9331"/>
              </a:solidFill>
            </c:spPr>
          </c:dPt>
          <c:dPt>
            <c:idx val="7"/>
            <c:bubble3D val="0"/>
            <c:spPr>
              <a:solidFill>
                <a:srgbClr val="0071BD"/>
              </a:solidFill>
            </c:spPr>
          </c:dPt>
          <c:dLbls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A$2:$A$9</c:f>
              <c:strCache>
                <c:ptCount val="8"/>
                <c:pt idx="0">
                  <c:v>Cat 1</c:v>
                </c:pt>
                <c:pt idx="1">
                  <c:v>Cat 2</c:v>
                </c:pt>
                <c:pt idx="2">
                  <c:v>Cat 3</c:v>
                </c:pt>
                <c:pt idx="3">
                  <c:v>Cat 4</c:v>
                </c:pt>
                <c:pt idx="4">
                  <c:v>Cat 5</c:v>
                </c:pt>
                <c:pt idx="5">
                  <c:v>Cat 6</c:v>
                </c:pt>
                <c:pt idx="6">
                  <c:v>Cat 7</c:v>
                </c:pt>
                <c:pt idx="7">
                  <c:v>Cat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3813965984497"/>
          <c:y val="3.2042728122918487E-2"/>
          <c:w val="0.85044484531226416"/>
          <c:h val="0.88258120294512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0A345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914060"/>
            </a:solidFill>
            <a:ln>
              <a:noFill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003A60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0092F6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78299904"/>
        <c:axId val="78301440"/>
      </c:barChart>
      <c:catAx>
        <c:axId val="78299904"/>
        <c:scaling>
          <c:orientation val="minMax"/>
        </c:scaling>
        <c:delete val="0"/>
        <c:axPos val="b"/>
        <c:majorTickMark val="out"/>
        <c:minorTickMark val="none"/>
        <c:tickLblPos val="nextTo"/>
        <c:crossAx val="78301440"/>
        <c:crosses val="autoZero"/>
        <c:auto val="1"/>
        <c:lblAlgn val="ctr"/>
        <c:lblOffset val="100"/>
        <c:noMultiLvlLbl val="0"/>
      </c:catAx>
      <c:valAx>
        <c:axId val="783014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782999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3813965984497"/>
          <c:y val="3.2042728122918487E-2"/>
          <c:w val="0.85044484531226416"/>
          <c:h val="0.882581202945127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FF9331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003A60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>
              <a:solidFill>
                <a:srgbClr val="0071BD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114432"/>
        <c:axId val="80115968"/>
      </c:lineChart>
      <c:catAx>
        <c:axId val="80114432"/>
        <c:scaling>
          <c:orientation val="minMax"/>
        </c:scaling>
        <c:delete val="0"/>
        <c:axPos val="b"/>
        <c:majorTickMark val="out"/>
        <c:minorTickMark val="none"/>
        <c:tickLblPos val="nextTo"/>
        <c:crossAx val="80115968"/>
        <c:crosses val="autoZero"/>
        <c:auto val="1"/>
        <c:lblAlgn val="ctr"/>
        <c:lblOffset val="100"/>
        <c:noMultiLvlLbl val="0"/>
      </c:catAx>
      <c:valAx>
        <c:axId val="801159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801144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t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t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78F666E-DE6A-4124-9A2B-54780538093F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4661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1738" y="692150"/>
            <a:ext cx="4610100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381500"/>
            <a:ext cx="5607050" cy="414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8D46D9F-2F5C-4A36-8603-FF3F8FDCF05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9851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Macintosh%20HD:Users:lawterd:Desktop:Willis_PPT:art:willis_title_logo_wh.png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21" Type="http://schemas.openxmlformats.org/officeDocument/2006/relationships/image" Target="../media/image3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chart" Target="../charts/chart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chart" Target="../charts/chart2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chart" Target="../charts/chart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0" y="0"/>
            <a:ext cx="9119675" cy="6857996"/>
          </a:xfrm>
          <a:prstGeom prst="rect">
            <a:avLst/>
          </a:prstGeom>
        </p:spPr>
      </p:pic>
      <p:pic>
        <p:nvPicPr>
          <p:cNvPr id="7" name="Picture 14" descr="Macintosh HD:Users:lawterd:Desktop:Willis_PPT:art:willis_title_logo_wh.png"/>
          <p:cNvPicPr>
            <a:picLocks noChangeAspect="1" noChangeArrowheads="1"/>
          </p:cNvPicPr>
          <p:nvPr userDrawn="1"/>
        </p:nvPicPr>
        <p:blipFill>
          <a:blip r:embed="rId3" r:link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63" y="5314950"/>
            <a:ext cx="183197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59626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E7B799-2E42-4CFC-BD00-8135AA70D2F8}" type="datetimeFigureOut">
              <a:rPr lang="en-US" smtClean="0"/>
              <a:t>10/22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EBD5E7-2616-469D-8681-34182B5422E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268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  <a:ln>
            <a:noFill/>
          </a:ln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38114" y="1500996"/>
            <a:ext cx="8745536" cy="414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rgbClr val="003A60"/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5521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852" y="6179975"/>
            <a:ext cx="1009650" cy="43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8299" y="3825875"/>
            <a:ext cx="7027285" cy="1362075"/>
          </a:xfrm>
        </p:spPr>
        <p:txBody>
          <a:bodyPr anchor="t"/>
          <a:lstStyle>
            <a:lvl1pPr algn="l">
              <a:defRPr sz="4000" b="1" cap="all">
                <a:solidFill>
                  <a:srgbClr val="9140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38299" y="2325688"/>
            <a:ext cx="7027285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003A60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00303"/>
            <a:ext cx="1396690" cy="3387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674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9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113" y="1500994"/>
            <a:ext cx="4330700" cy="4171621"/>
          </a:xfrm>
        </p:spPr>
        <p:txBody>
          <a:bodyPr/>
          <a:lstStyle>
            <a:lvl1pPr>
              <a:defRPr sz="1400"/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1166813" indent="-22860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/>
          </p:nvPr>
        </p:nvSpPr>
        <p:spPr>
          <a:xfrm>
            <a:off x="4572000" y="1500994"/>
            <a:ext cx="4330700" cy="4171621"/>
          </a:xfrm>
        </p:spPr>
        <p:txBody>
          <a:bodyPr/>
          <a:lstStyle>
            <a:lvl1pPr>
              <a:defRPr sz="1400"/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1166813" indent="-22860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3818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231775" y="1506538"/>
            <a:ext cx="42037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705350" y="1506538"/>
            <a:ext cx="41783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5" name="Content Placeholder 2"/>
          <p:cNvSpPr txBox="1">
            <a:spLocks/>
          </p:cNvSpPr>
          <p:nvPr userDrawn="1"/>
        </p:nvSpPr>
        <p:spPr bwMode="auto">
          <a:xfrm>
            <a:off x="231775" y="1779588"/>
            <a:ext cx="4203700" cy="3857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6" name="Content Placeholder 3"/>
          <p:cNvSpPr txBox="1">
            <a:spLocks/>
          </p:cNvSpPr>
          <p:nvPr userDrawn="1"/>
        </p:nvSpPr>
        <p:spPr bwMode="auto">
          <a:xfrm>
            <a:off x="4705350" y="1779588"/>
            <a:ext cx="4178300" cy="3857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  <a:p>
            <a:pPr>
              <a:defRPr/>
            </a:pPr>
            <a:endParaRPr lang="en-GB" u="none" dirty="0"/>
          </a:p>
        </p:txBody>
      </p:sp>
      <p:sp>
        <p:nvSpPr>
          <p:cNvPr id="7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223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231775" y="1506538"/>
            <a:ext cx="42037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4705350" y="1506538"/>
            <a:ext cx="41783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5" name="Content Placeholder 2"/>
          <p:cNvSpPr txBox="1">
            <a:spLocks/>
          </p:cNvSpPr>
          <p:nvPr userDrawn="1"/>
        </p:nvSpPr>
        <p:spPr bwMode="auto">
          <a:xfrm>
            <a:off x="231775" y="1804988"/>
            <a:ext cx="42037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16" name="Content Placeholder 3"/>
          <p:cNvSpPr txBox="1">
            <a:spLocks/>
          </p:cNvSpPr>
          <p:nvPr userDrawn="1"/>
        </p:nvSpPr>
        <p:spPr bwMode="auto">
          <a:xfrm>
            <a:off x="4705350" y="1804988"/>
            <a:ext cx="41783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231775" y="3657600"/>
            <a:ext cx="42037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705350" y="3657600"/>
            <a:ext cx="41783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9" name="Content Placeholder 2"/>
          <p:cNvSpPr txBox="1">
            <a:spLocks/>
          </p:cNvSpPr>
          <p:nvPr userDrawn="1"/>
        </p:nvSpPr>
        <p:spPr bwMode="auto">
          <a:xfrm>
            <a:off x="231775" y="3948113"/>
            <a:ext cx="42037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20" name="Content Placeholder 3"/>
          <p:cNvSpPr txBox="1">
            <a:spLocks/>
          </p:cNvSpPr>
          <p:nvPr userDrawn="1"/>
        </p:nvSpPr>
        <p:spPr bwMode="auto">
          <a:xfrm>
            <a:off x="4705350" y="3948113"/>
            <a:ext cx="41783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685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36838228"/>
              </p:ext>
            </p:extLst>
          </p:nvPr>
        </p:nvGraphicFramePr>
        <p:xfrm>
          <a:off x="231775" y="1503363"/>
          <a:ext cx="8651875" cy="15922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30375"/>
                <a:gridCol w="1730375"/>
                <a:gridCol w="1730375"/>
                <a:gridCol w="1730375"/>
                <a:gridCol w="1730375"/>
              </a:tblGrid>
              <a:tr h="318452"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63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22"/>
          <p:cNvSpPr>
            <a:spLocks noChangeShapeType="1"/>
          </p:cNvSpPr>
          <p:nvPr/>
        </p:nvSpPr>
        <p:spPr bwMode="auto">
          <a:xfrm>
            <a:off x="236538" y="811213"/>
            <a:ext cx="8670925" cy="0"/>
          </a:xfrm>
          <a:prstGeom prst="line">
            <a:avLst/>
          </a:prstGeom>
          <a:noFill/>
          <a:ln w="25400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Line 20"/>
          <p:cNvSpPr>
            <a:spLocks noChangeShapeType="1"/>
          </p:cNvSpPr>
          <p:nvPr/>
        </p:nvSpPr>
        <p:spPr bwMode="auto">
          <a:xfrm>
            <a:off x="236538" y="6224588"/>
            <a:ext cx="8670925" cy="0"/>
          </a:xfrm>
          <a:prstGeom prst="line">
            <a:avLst/>
          </a:prstGeom>
          <a:noFill/>
          <a:ln w="15875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236538" y="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u="none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236538" y="835025"/>
            <a:ext cx="8670925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u="none" dirty="0" smtClean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236538" y="5767388"/>
            <a:ext cx="8670925" cy="381000"/>
            <a:chOff x="75" y="3914"/>
            <a:chExt cx="5385" cy="235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u="none" dirty="0" smtClean="0">
                  <a:solidFill>
                    <a:srgbClr val="132647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9900" indent="-469900" defTabSz="912813">
                <a:tabLst>
                  <a:tab pos="623888" algn="l"/>
                </a:tabLst>
              </a:pPr>
              <a:r>
                <a:rPr lang="en-US" sz="1000" u="none">
                  <a:solidFill>
                    <a:srgbClr val="132647"/>
                  </a:solidFill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82725" y="2195513"/>
            <a:ext cx="4389438" cy="517525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u="none">
                  <a:solidFill>
                    <a:srgbClr val="132647"/>
                  </a:solidFill>
                </a:rPr>
                <a:t>Title</a:t>
              </a:r>
            </a:p>
            <a:p>
              <a:r>
                <a:rPr lang="en-US" sz="1600" u="none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LegendBoxes" hidden="1"/>
          <p:cNvGrpSpPr>
            <a:grpSpLocks/>
          </p:cNvGrpSpPr>
          <p:nvPr/>
        </p:nvGrpSpPr>
        <p:grpSpPr bwMode="auto">
          <a:xfrm>
            <a:off x="8143875" y="884238"/>
            <a:ext cx="763588" cy="996950"/>
            <a:chOff x="4936" y="176"/>
            <a:chExt cx="481" cy="628"/>
          </a:xfrm>
        </p:grpSpPr>
        <p:sp>
          <p:nvSpPr>
            <p:cNvPr id="1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1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</p:grpSp>
      <p:grpSp>
        <p:nvGrpSpPr>
          <p:cNvPr id="26" name="LegendLines" hidden="1"/>
          <p:cNvGrpSpPr>
            <a:grpSpLocks/>
          </p:cNvGrpSpPr>
          <p:nvPr/>
        </p:nvGrpSpPr>
        <p:grpSpPr bwMode="auto">
          <a:xfrm>
            <a:off x="7835900" y="884238"/>
            <a:ext cx="1071563" cy="730250"/>
            <a:chOff x="4750" y="176"/>
            <a:chExt cx="675" cy="460"/>
          </a:xfrm>
        </p:grpSpPr>
        <p:sp>
          <p:nvSpPr>
            <p:cNvPr id="2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2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</p:grpSp>
      <p:grpSp>
        <p:nvGrpSpPr>
          <p:cNvPr id="33" name="McKSticker" hidden="1"/>
          <p:cNvGrpSpPr>
            <a:grpSpLocks/>
          </p:cNvGrpSpPr>
          <p:nvPr/>
        </p:nvGrpSpPr>
        <p:grpSpPr bwMode="auto">
          <a:xfrm>
            <a:off x="7840663" y="884238"/>
            <a:ext cx="1066800" cy="212725"/>
            <a:chOff x="7673880" y="285750"/>
            <a:chExt cx="1066895" cy="212366"/>
          </a:xfrm>
        </p:grpSpPr>
        <p:sp>
          <p:nvSpPr>
            <p:cNvPr id="34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5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8077200" y="884238"/>
            <a:ext cx="830263" cy="1306512"/>
            <a:chOff x="6655594" y="273840"/>
            <a:chExt cx="83043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8" name="Oval 109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" name="Arc 110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58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9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64" name="Picture 2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7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8" name="Content Placeholder 2"/>
          <p:cNvSpPr txBox="1">
            <a:spLocks/>
          </p:cNvSpPr>
          <p:nvPr userDrawn="1"/>
        </p:nvSpPr>
        <p:spPr bwMode="auto">
          <a:xfrm>
            <a:off x="231775" y="1779588"/>
            <a:ext cx="4203700" cy="41624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u="none" dirty="0" smtClean="0"/>
          </a:p>
        </p:txBody>
      </p:sp>
      <p:graphicFrame>
        <p:nvGraphicFramePr>
          <p:cNvPr id="69" name="Chart 68"/>
          <p:cNvGraphicFramePr/>
          <p:nvPr userDrawn="1">
            <p:extLst>
              <p:ext uri="{D42A27DB-BD31-4B8C-83A1-F6EECF244321}">
                <p14:modId xmlns:p14="http://schemas.microsoft.com/office/powerpoint/2010/main" val="1706081408"/>
              </p:ext>
            </p:extLst>
          </p:nvPr>
        </p:nvGraphicFramePr>
        <p:xfrm>
          <a:off x="327422" y="2138363"/>
          <a:ext cx="4012406" cy="2674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70" name="Rectangle 69"/>
          <p:cNvSpPr/>
          <p:nvPr userDrawn="1"/>
        </p:nvSpPr>
        <p:spPr bwMode="auto">
          <a:xfrm>
            <a:off x="231775" y="1506538"/>
            <a:ext cx="42037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PIE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4705350" y="1506538"/>
            <a:ext cx="4178300" cy="268287"/>
          </a:xfrm>
          <a:prstGeom prst="rect">
            <a:avLst/>
          </a:prstGeom>
          <a:solidFill>
            <a:srgbClr val="914060"/>
          </a:solidFill>
          <a:ln w="6350" cap="flat" cmpd="sng" algn="ctr">
            <a:solidFill>
              <a:srgbClr val="914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STACKED COLUMN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2" name="Content Placeholder 3"/>
          <p:cNvSpPr txBox="1">
            <a:spLocks/>
          </p:cNvSpPr>
          <p:nvPr userDrawn="1"/>
        </p:nvSpPr>
        <p:spPr bwMode="auto">
          <a:xfrm>
            <a:off x="4705350" y="1779589"/>
            <a:ext cx="4178300" cy="1858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GB" sz="1200" u="none" dirty="0"/>
          </a:p>
        </p:txBody>
      </p:sp>
      <p:graphicFrame>
        <p:nvGraphicFramePr>
          <p:cNvPr id="73" name="Chart 72"/>
          <p:cNvGraphicFramePr/>
          <p:nvPr userDrawn="1">
            <p:extLst>
              <p:ext uri="{D42A27DB-BD31-4B8C-83A1-F6EECF244321}">
                <p14:modId xmlns:p14="http://schemas.microsoft.com/office/powerpoint/2010/main" val="2153779701"/>
              </p:ext>
            </p:extLst>
          </p:nvPr>
        </p:nvGraphicFramePr>
        <p:xfrm>
          <a:off x="4721225" y="1822450"/>
          <a:ext cx="4012406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4" name="Rectangle 73"/>
          <p:cNvSpPr/>
          <p:nvPr userDrawn="1"/>
        </p:nvSpPr>
        <p:spPr bwMode="auto">
          <a:xfrm>
            <a:off x="4705350" y="3810000"/>
            <a:ext cx="41783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LINE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5" name="Content Placeholder 3"/>
          <p:cNvSpPr txBox="1">
            <a:spLocks/>
          </p:cNvSpPr>
          <p:nvPr userDrawn="1"/>
        </p:nvSpPr>
        <p:spPr bwMode="auto">
          <a:xfrm>
            <a:off x="4705350" y="4083051"/>
            <a:ext cx="4178300" cy="1858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GB" sz="1200" u="none" dirty="0"/>
          </a:p>
        </p:txBody>
      </p:sp>
      <p:graphicFrame>
        <p:nvGraphicFramePr>
          <p:cNvPr id="76" name="Chart 75"/>
          <p:cNvGraphicFramePr/>
          <p:nvPr userDrawn="1">
            <p:extLst>
              <p:ext uri="{D42A27DB-BD31-4B8C-83A1-F6EECF244321}">
                <p14:modId xmlns:p14="http://schemas.microsoft.com/office/powerpoint/2010/main" val="2236592217"/>
              </p:ext>
            </p:extLst>
          </p:nvPr>
        </p:nvGraphicFramePr>
        <p:xfrm>
          <a:off x="4705350" y="4192588"/>
          <a:ext cx="4012406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77" name="Rectangle 76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518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22"/>
          <p:cNvSpPr>
            <a:spLocks noChangeShapeType="1"/>
          </p:cNvSpPr>
          <p:nvPr userDrawn="1"/>
        </p:nvSpPr>
        <p:spPr bwMode="auto">
          <a:xfrm>
            <a:off x="236538" y="811213"/>
            <a:ext cx="8670925" cy="0"/>
          </a:xfrm>
          <a:prstGeom prst="line">
            <a:avLst/>
          </a:prstGeom>
          <a:noFill/>
          <a:ln w="25400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Line 20"/>
          <p:cNvSpPr>
            <a:spLocks noChangeShapeType="1"/>
          </p:cNvSpPr>
          <p:nvPr userDrawn="1"/>
        </p:nvSpPr>
        <p:spPr bwMode="auto">
          <a:xfrm>
            <a:off x="236538" y="6224588"/>
            <a:ext cx="8670925" cy="0"/>
          </a:xfrm>
          <a:prstGeom prst="line">
            <a:avLst/>
          </a:prstGeom>
          <a:noFill/>
          <a:ln w="15875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>
            <a:stCxn id="12" idx="2"/>
            <a:endCxn id="18" idx="0"/>
          </p:cNvCxnSpPr>
          <p:nvPr userDrawn="1"/>
        </p:nvCxnSpPr>
        <p:spPr bwMode="auto">
          <a:xfrm>
            <a:off x="4609499" y="2509873"/>
            <a:ext cx="0" cy="1654622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ound Single Corner Rectangle 10"/>
          <p:cNvSpPr/>
          <p:nvPr userDrawn="1"/>
        </p:nvSpPr>
        <p:spPr>
          <a:xfrm>
            <a:off x="1523999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Client Advocate</a:t>
            </a:r>
            <a:b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</a:br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John Smith</a:t>
            </a:r>
          </a:p>
        </p:txBody>
      </p:sp>
      <p:sp>
        <p:nvSpPr>
          <p:cNvPr id="12" name="Round Single Corner Rectangle 11"/>
          <p:cNvSpPr/>
          <p:nvPr userDrawn="1"/>
        </p:nvSpPr>
        <p:spPr>
          <a:xfrm>
            <a:off x="3619499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Steering Board</a:t>
            </a:r>
          </a:p>
        </p:txBody>
      </p:sp>
      <p:sp>
        <p:nvSpPr>
          <p:cNvPr id="13" name="Round Single Corner Rectangle 12"/>
          <p:cNvSpPr/>
          <p:nvPr userDrawn="1"/>
        </p:nvSpPr>
        <p:spPr>
          <a:xfrm>
            <a:off x="5714998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First level (Management)</a:t>
            </a:r>
          </a:p>
        </p:txBody>
      </p:sp>
      <p:sp>
        <p:nvSpPr>
          <p:cNvPr id="14" name="Round Single Corner Rectangle 13"/>
          <p:cNvSpPr/>
          <p:nvPr userDrawn="1"/>
        </p:nvSpPr>
        <p:spPr>
          <a:xfrm>
            <a:off x="1523999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smtClean="0"/>
              <a:t>Various teams</a:t>
            </a:r>
            <a:endParaRPr lang="en-GB" sz="1100" u="none" kern="1200" dirty="0"/>
          </a:p>
        </p:txBody>
      </p:sp>
      <p:sp>
        <p:nvSpPr>
          <p:cNvPr id="15" name="Round Single Corner Rectangle 14"/>
          <p:cNvSpPr/>
          <p:nvPr userDrawn="1"/>
        </p:nvSpPr>
        <p:spPr>
          <a:xfrm>
            <a:off x="3619499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6" name="Round Single Corner Rectangle 15"/>
          <p:cNvSpPr/>
          <p:nvPr userDrawn="1"/>
        </p:nvSpPr>
        <p:spPr>
          <a:xfrm>
            <a:off x="5714998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7" name="Round Single Corner Rectangle 16"/>
          <p:cNvSpPr/>
          <p:nvPr userDrawn="1"/>
        </p:nvSpPr>
        <p:spPr>
          <a:xfrm>
            <a:off x="1523999" y="4164495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8" name="Round Single Corner Rectangle 17"/>
          <p:cNvSpPr/>
          <p:nvPr userDrawn="1"/>
        </p:nvSpPr>
        <p:spPr>
          <a:xfrm>
            <a:off x="3619499" y="4164495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9" name="Round Single Corner Rectangle 18"/>
          <p:cNvSpPr/>
          <p:nvPr userDrawn="1"/>
        </p:nvSpPr>
        <p:spPr>
          <a:xfrm>
            <a:off x="5714998" y="4164494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cxnSp>
        <p:nvCxnSpPr>
          <p:cNvPr id="20" name="Elbow Connector 19"/>
          <p:cNvCxnSpPr>
            <a:stCxn id="16" idx="0"/>
            <a:endCxn id="12" idx="2"/>
          </p:cNvCxnSpPr>
          <p:nvPr userDrawn="1"/>
        </p:nvCxnSpPr>
        <p:spPr bwMode="auto">
          <a:xfrm rot="16200000" flipV="1">
            <a:off x="5450966" y="1668406"/>
            <a:ext cx="412566" cy="209549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Elbow Connector 20"/>
          <p:cNvCxnSpPr>
            <a:stCxn id="15" idx="2"/>
            <a:endCxn id="17" idx="0"/>
          </p:cNvCxnSpPr>
          <p:nvPr userDrawn="1"/>
        </p:nvCxnSpPr>
        <p:spPr bwMode="auto">
          <a:xfrm rot="5400000">
            <a:off x="3355466" y="2910462"/>
            <a:ext cx="412566" cy="2095500"/>
          </a:xfrm>
          <a:prstGeom prst="bentConnector3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Elbow Connector 21"/>
          <p:cNvCxnSpPr>
            <a:stCxn id="12" idx="2"/>
            <a:endCxn id="14" idx="0"/>
          </p:cNvCxnSpPr>
          <p:nvPr userDrawn="1"/>
        </p:nvCxnSpPr>
        <p:spPr bwMode="auto">
          <a:xfrm rot="5400000">
            <a:off x="3355466" y="1668406"/>
            <a:ext cx="412566" cy="209550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Elbow Connector 22"/>
          <p:cNvCxnSpPr>
            <a:stCxn id="19" idx="0"/>
            <a:endCxn id="15" idx="2"/>
          </p:cNvCxnSpPr>
          <p:nvPr userDrawn="1"/>
        </p:nvCxnSpPr>
        <p:spPr bwMode="auto">
          <a:xfrm rot="16200000" flipV="1">
            <a:off x="5450967" y="2910462"/>
            <a:ext cx="412565" cy="2095499"/>
          </a:xfrm>
          <a:prstGeom prst="bentConnector3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tangle 23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118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8113" y="1501775"/>
            <a:ext cx="8815387" cy="414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2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63513" y="-23813"/>
            <a:ext cx="8799512" cy="895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TITLE IN CAPS GOES HE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24839" r:id="rId1"/>
    <p:sldLayoutId id="2147524840" r:id="rId2"/>
    <p:sldLayoutId id="2147524841" r:id="rId3"/>
    <p:sldLayoutId id="2147524842" r:id="rId4"/>
    <p:sldLayoutId id="2147524846" r:id="rId5"/>
    <p:sldLayoutId id="2147524843" r:id="rId6"/>
    <p:sldLayoutId id="2147524844" r:id="rId7"/>
    <p:sldLayoutId id="2147524845" r:id="rId8"/>
    <p:sldLayoutId id="2147524847" r:id="rId9"/>
    <p:sldLayoutId id="2147524848" r:id="rId10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1BD"/>
          </a:solidFill>
          <a:latin typeface="Cambria" panose="02040503050406030204" pitchFamily="18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Font typeface="Wingdings" pitchFamily="2" charset="2"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342900" indent="-228600" algn="l" rtl="0" eaLnBrk="1" fontAlgn="base" hangingPunct="1">
        <a:spcBef>
          <a:spcPct val="70000"/>
        </a:spcBef>
        <a:spcAft>
          <a:spcPct val="0"/>
        </a:spcAft>
        <a:buClr>
          <a:schemeClr val="accent2"/>
        </a:buClr>
        <a:buSzPct val="85000"/>
        <a:buFont typeface="Wingdings" pitchFamily="2" charset="2"/>
        <a:buChar char="n"/>
        <a:defRPr sz="1200" b="1">
          <a:solidFill>
            <a:schemeClr val="bg1">
              <a:lumMod val="50000"/>
            </a:schemeClr>
          </a:solidFill>
          <a:latin typeface="+mn-lt"/>
        </a:defRPr>
      </a:lvl2pPr>
      <a:lvl3pPr marL="623888" indent="-166688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Symbol" pitchFamily="18" charset="2"/>
        <a:buChar char="·"/>
        <a:defRPr sz="1200">
          <a:solidFill>
            <a:schemeClr val="bg1">
              <a:lumMod val="50000"/>
            </a:schemeClr>
          </a:solidFill>
          <a:latin typeface="+mn-lt"/>
        </a:defRPr>
      </a:lvl3pPr>
      <a:lvl4pPr marL="914400" indent="-176213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sz="1200">
          <a:solidFill>
            <a:schemeClr val="bg1">
              <a:lumMod val="50000"/>
            </a:schemeClr>
          </a:solidFill>
          <a:latin typeface="+mn-lt"/>
        </a:defRPr>
      </a:lvl4pPr>
      <a:lvl5pPr marL="17732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5pPr>
      <a:lvl6pPr marL="22304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6pPr>
      <a:lvl7pPr marL="26876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7pPr>
      <a:lvl8pPr marL="31448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8pPr>
      <a:lvl9pPr marL="36020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59" y="11875"/>
            <a:ext cx="911968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33"/>
          <a:stretch/>
        </p:blipFill>
        <p:spPr>
          <a:xfrm>
            <a:off x="12159" y="1936750"/>
            <a:ext cx="9119681" cy="49149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2935506"/>
      </p:ext>
    </p:extLst>
  </p:cSld>
  <p:clrMapOvr>
    <a:masterClrMapping/>
  </p:clrMapOvr>
  <p:transition spd="med" advTm="354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sp>
        <p:nvSpPr>
          <p:cNvPr id="6" name="Retângulo 5"/>
          <p:cNvSpPr/>
          <p:nvPr/>
        </p:nvSpPr>
        <p:spPr>
          <a:xfrm>
            <a:off x="281373" y="1052736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1" u="none" dirty="0">
                <a:solidFill>
                  <a:srgbClr val="B0A345"/>
                </a:solidFill>
              </a:rPr>
              <a:t>Roubos e Acidentes, Saques e Telemetria</a:t>
            </a:r>
          </a:p>
          <a:p>
            <a:endParaRPr lang="pt-BR" sz="1400" u="none" dirty="0"/>
          </a:p>
          <a:p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Um estudo realizado há 10 anos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por um </a:t>
            </a:r>
            <a:r>
              <a:rPr lang="pt-BR" sz="1400" u="none" smtClean="0">
                <a:solidFill>
                  <a:schemeClr val="accent5">
                    <a:lumMod val="50000"/>
                  </a:schemeClr>
                </a:solidFill>
              </a:rPr>
              <a:t>grande Gerenciador,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já apontava para números contundentes na relação Acidentes e Roubo. </a:t>
            </a:r>
          </a:p>
          <a:p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>“...Até 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então apenas o roubo ganhava a exclusiva atenção com </a:t>
            </a:r>
            <a:r>
              <a:rPr lang="pt-BR" sz="1400" i="1" dirty="0">
                <a:solidFill>
                  <a:schemeClr val="accent5">
                    <a:lumMod val="50000"/>
                  </a:schemeClr>
                </a:solidFill>
              </a:rPr>
              <a:t>11.000 </a:t>
            </a:r>
            <a:r>
              <a:rPr lang="pt-BR" sz="1400" i="1" dirty="0" smtClean="0">
                <a:solidFill>
                  <a:schemeClr val="accent5">
                    <a:lumMod val="50000"/>
                  </a:schemeClr>
                </a:solidFill>
              </a:rPr>
              <a:t> eventos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>  por 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ano que geravam </a:t>
            </a:r>
            <a:r>
              <a:rPr lang="pt-BR" sz="1400" b="1" i="1" u="none" dirty="0">
                <a:solidFill>
                  <a:schemeClr val="accent5">
                    <a:lumMod val="50000"/>
                  </a:schemeClr>
                </a:solidFill>
              </a:rPr>
              <a:t>R$ 1 Bilhão 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em perdas. 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>Números recentes mostram que ocorrem </a:t>
            </a:r>
            <a:r>
              <a:rPr lang="pt-BR" sz="1400" i="1" dirty="0">
                <a:solidFill>
                  <a:schemeClr val="accent5">
                    <a:lumMod val="50000"/>
                  </a:schemeClr>
                </a:solidFill>
              </a:rPr>
              <a:t>85.000 acidentes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 com veículos de carga (apenas nas rodovias federais e estaduais), 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>e que 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acarretam 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>algo em 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torno de 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pt-BR" sz="1400" b="1" i="1" u="none" dirty="0" smtClean="0">
                <a:solidFill>
                  <a:schemeClr val="accent5">
                    <a:lumMod val="50000"/>
                  </a:schemeClr>
                </a:solidFill>
              </a:rPr>
              <a:t>R</a:t>
            </a:r>
            <a:r>
              <a:rPr lang="pt-BR" sz="1400" b="1" i="1" u="none" dirty="0">
                <a:solidFill>
                  <a:schemeClr val="accent5">
                    <a:lumMod val="50000"/>
                  </a:schemeClr>
                </a:solidFill>
              </a:rPr>
              <a:t>$ 9 Bilhões 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</a:rPr>
              <a:t>em 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</a:rPr>
              <a:t>prejuízos, nem todos estes indenizáveis ...”         </a:t>
            </a:r>
          </a:p>
          <a:p>
            <a:endParaRPr lang="pt-BR" sz="1400" u="none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E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 o mais trágico...</a:t>
            </a:r>
          </a:p>
          <a:p>
            <a:endParaRPr lang="pt-BR" sz="1400" i="1" dirty="0" smtClean="0"/>
          </a:p>
          <a:p>
            <a:endParaRPr lang="pt-BR" sz="1600" i="1" dirty="0"/>
          </a:p>
          <a:p>
            <a:endParaRPr lang="pt-BR" sz="1600" i="1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266252"/>
              </p:ext>
            </p:extLst>
          </p:nvPr>
        </p:nvGraphicFramePr>
        <p:xfrm>
          <a:off x="353272" y="3861048"/>
          <a:ext cx="8417031" cy="2160238"/>
        </p:xfrm>
        <a:graphic>
          <a:graphicData uri="http://schemas.openxmlformats.org/drawingml/2006/table">
            <a:tbl>
              <a:tblPr/>
              <a:tblGrid>
                <a:gridCol w="662376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  <a:gridCol w="516977"/>
              </a:tblGrid>
              <a:tr h="303078"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úmero de </a:t>
                      </a:r>
                      <a:r>
                        <a:rPr lang="pt-BR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óbitos </a:t>
                      </a:r>
                      <a:r>
                        <a:rPr lang="pt-B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m acidentes de transporte por Categoria de Risco - Brasil, 1996 / 2010 (Instituto </a:t>
                      </a:r>
                      <a:r>
                        <a:rPr lang="pt-BR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angari</a:t>
                      </a:r>
                      <a:r>
                        <a:rPr lang="pt-B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)</a:t>
                      </a:r>
                    </a:p>
                  </a:txBody>
                  <a:tcPr marL="7893" marR="7893" marT="789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tegoria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6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7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8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9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0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1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2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3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4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5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6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8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9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0</a:t>
                      </a:r>
                    </a:p>
                  </a:txBody>
                  <a:tcPr marL="7893" marR="7893" marT="789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destre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.64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.11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.31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.62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64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10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34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07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96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92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95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36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15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19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94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iclista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3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3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6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78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77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90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5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3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1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7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90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tociclista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2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7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9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68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91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54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44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04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96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08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19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39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47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83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45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omóvel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18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35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62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79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26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48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06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01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87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49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75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1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42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34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40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199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minhão</a:t>
                      </a:r>
                    </a:p>
                  </a:txBody>
                  <a:tcPr marL="7893" marR="7893" marT="789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7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7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4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1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1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8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5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0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4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5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6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4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0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Ônibus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82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tros</a:t>
                      </a:r>
                    </a:p>
                  </a:txBody>
                  <a:tcPr marL="7893" marR="7893" marT="789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8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2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4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6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6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4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2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1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is</a:t>
                      </a:r>
                    </a:p>
                  </a:txBody>
                  <a:tcPr marL="7893" marR="7893" marT="789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281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62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.890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.56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.99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.52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.75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.13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105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99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.36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.407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.273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.594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.989</a:t>
                      </a:r>
                    </a:p>
                  </a:txBody>
                  <a:tcPr marL="7893" marR="7893" marT="78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2814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243375" y="143054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72088" y="987060"/>
            <a:ext cx="7488832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sz="2000" b="1" u="none" dirty="0">
                <a:solidFill>
                  <a:srgbClr val="B0A345"/>
                </a:solidFill>
                <a:latin typeface="Arial" pitchFamily="34" charset="0"/>
                <a:cs typeface="Arial" pitchFamily="34" charset="0"/>
              </a:rPr>
              <a:t>Roubos e Acidentes, Saques e Telemetria</a:t>
            </a:r>
          </a:p>
          <a:p>
            <a:endParaRPr lang="pt-BR" sz="1400" dirty="0"/>
          </a:p>
          <a:p>
            <a:endParaRPr lang="pt-BR" sz="1600" i="1" dirty="0"/>
          </a:p>
          <a:p>
            <a:r>
              <a:rPr lang="pt-BR" sz="1600" b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Problema dos Saques</a:t>
            </a:r>
            <a:r>
              <a:rPr lang="pt-BR" sz="16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:</a:t>
            </a:r>
            <a:endParaRPr lang="pt-BR" sz="1600" b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Segundo estudo da KPMG publicado em 2013, os principais fatores que propiciam o comportamento delituoso do saque, na sociedade brasileira são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:</a:t>
            </a:r>
            <a:b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Impunidade (certeza da ineficiente resposta dos órgãos de repressão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);</a:t>
            </a:r>
            <a:b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en-US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Enfraquecimento dos valores morais e sociais  (quem é a vítima no crime patrimonial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?);</a:t>
            </a:r>
            <a:b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Pressões econômicas.</a:t>
            </a:r>
            <a:endParaRPr lang="en-US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pic>
        <p:nvPicPr>
          <p:cNvPr id="6146" name="Picture 2" descr="M:\CRIAÇÃO\IMAGENS E VETORES_SHUTTERSTOCK\IMAGENS\ÍCONES 3D\shutterstock_11154070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3" t="4948" b="21224"/>
          <a:stretch/>
        </p:blipFill>
        <p:spPr bwMode="auto">
          <a:xfrm>
            <a:off x="5676900" y="4446096"/>
            <a:ext cx="2193904" cy="165198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728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243375" y="143054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505725" y="1602330"/>
            <a:ext cx="5883199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1400" u="none" dirty="0"/>
          </a:p>
          <a:p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Fase I: </a:t>
            </a:r>
            <a: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nhecer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Levantamento de todos os dados e informações disponíveis sobre os eventos que se pretende gerenciar;</a:t>
            </a:r>
          </a:p>
          <a:p>
            <a:pPr>
              <a:buClr>
                <a:srgbClr val="B0A345"/>
              </a:buClr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/>
            </a:r>
            <a:b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Fase II: </a:t>
            </a:r>
            <a: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mpreender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Ir a campo, realizando entrevistas e visitas técnicas onde os eventos se manifestam, mapeando e garimpando oportunidades;</a:t>
            </a:r>
          </a:p>
          <a:p>
            <a:pPr>
              <a:buClr>
                <a:srgbClr val="B0A345"/>
              </a:buClr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/>
            </a:r>
            <a:b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Fase III: </a:t>
            </a:r>
            <a: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Diagnosticar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Organizar a compreensão dos fatores de risco em forma de conclusões e delas ressaltar as oportunidades enxergadas de controle e mitigação;</a:t>
            </a:r>
          </a:p>
          <a:p>
            <a:endParaRPr lang="pt-BR" sz="1400" dirty="0"/>
          </a:p>
          <a:p>
            <a:endParaRPr lang="en-US" sz="1400" dirty="0"/>
          </a:p>
        </p:txBody>
      </p:sp>
      <p:sp>
        <p:nvSpPr>
          <p:cNvPr id="2" name="Retângulo 1"/>
          <p:cNvSpPr/>
          <p:nvPr/>
        </p:nvSpPr>
        <p:spPr>
          <a:xfrm>
            <a:off x="401887" y="1143383"/>
            <a:ext cx="64171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800" b="1" u="none" dirty="0">
                <a:solidFill>
                  <a:srgbClr val="B0A345"/>
                </a:solidFill>
              </a:rPr>
              <a:t>Gerenciamento de Riscos - Como Implementar /  5 Fases</a:t>
            </a:r>
          </a:p>
        </p:txBody>
      </p:sp>
      <p:pic>
        <p:nvPicPr>
          <p:cNvPr id="11" name="Picture 3" descr="M:\MKT\EVENTOS\ENCONTRO DE ASSOCIADOS 2015\PALESTRANTES\Apoio\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649" y="3000350"/>
            <a:ext cx="926092" cy="93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M:\MKT\EVENTOS\ENCONTRO DE ASSOCIADOS 2015\PALESTRANTES\Apoio\1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0487" y="1731553"/>
            <a:ext cx="758416" cy="76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M:\MKT\EVENTOS\ENCONTRO DE ASSOCIADOS 2015\PALESTRANTES\Apoio\0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202" y="4414966"/>
            <a:ext cx="1004114" cy="82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728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243375" y="143054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505726" y="2148571"/>
            <a:ext cx="575592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0A345"/>
              </a:buClr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Fase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IV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: </a:t>
            </a:r>
            <a:r>
              <a:rPr lang="pt-BR" sz="1400" b="1" u="none" dirty="0">
                <a:solidFill>
                  <a:schemeClr val="accent5">
                    <a:lumMod val="50000"/>
                  </a:schemeClr>
                </a:solidFill>
              </a:rPr>
              <a:t>Planejar</a:t>
            </a:r>
          </a:p>
          <a:p>
            <a:pPr>
              <a:buClr>
                <a:srgbClr val="B0A345"/>
              </a:buClr>
            </a:pPr>
            <a:endParaRPr lang="pt-BR" sz="1400" b="1" u="none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Estruturar um Plano de Ação, descrevendo as modificações e/ou ajustes no processo, necessárias ao melhor controle e gerenciamento dos ambientes, com vistas a eliminação ou redução da exposição;</a:t>
            </a:r>
          </a:p>
          <a:p>
            <a:pPr>
              <a:buClr>
                <a:srgbClr val="B0A345"/>
              </a:buClr>
            </a:pPr>
            <a:endParaRPr lang="pt-BR" sz="1400" u="none" dirty="0" smtClean="0">
              <a:solidFill>
                <a:schemeClr val="accent5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</a:pPr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</a:pPr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Fase V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: </a:t>
            </a:r>
            <a:r>
              <a:rPr lang="pt-BR" sz="1400" b="1" u="none" dirty="0" err="1">
                <a:solidFill>
                  <a:schemeClr val="accent5">
                    <a:lumMod val="50000"/>
                  </a:schemeClr>
                </a:solidFill>
              </a:rPr>
              <a:t>Manutenir</a:t>
            </a:r>
            <a:endParaRPr lang="pt-BR" sz="1400" b="1" u="none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</a:pPr>
            <a:endParaRPr lang="pt-BR" sz="1400" b="1" u="none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Criação de indicadores que monitorem a performance das Ações, assim como o comportamento do risco gerenciado.</a:t>
            </a:r>
          </a:p>
          <a:p>
            <a:endParaRPr lang="pt-BR" sz="1400" dirty="0"/>
          </a:p>
          <a:p>
            <a:endParaRPr lang="en-US" sz="1400" dirty="0"/>
          </a:p>
        </p:txBody>
      </p:sp>
      <p:sp>
        <p:nvSpPr>
          <p:cNvPr id="2" name="Retângulo 1"/>
          <p:cNvSpPr/>
          <p:nvPr/>
        </p:nvSpPr>
        <p:spPr>
          <a:xfrm>
            <a:off x="389233" y="1430542"/>
            <a:ext cx="71032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u="none" dirty="0">
                <a:solidFill>
                  <a:srgbClr val="B0A345"/>
                </a:solidFill>
              </a:rPr>
              <a:t>Gerenciamento de Riscos - Como Implementar /  5 Fases</a:t>
            </a:r>
          </a:p>
        </p:txBody>
      </p:sp>
      <p:pic>
        <p:nvPicPr>
          <p:cNvPr id="9" name="Picture 3" descr="M:\MKT\EVENTOS\ENCONTRO DE ASSOCIADOS 2015\PALESTRANTES\Apoio\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4566" y="2391369"/>
            <a:ext cx="1142534" cy="1157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9160" y="4324350"/>
            <a:ext cx="1018912" cy="1031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40690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pic>
        <p:nvPicPr>
          <p:cNvPr id="6" name="Picture 2" descr="M:\CRIAÇÃO\IMAGENS E VETORES_SHUTTERSTOCK\IMAGENS\RISCOS CORPORATIVOS\shutterstock_5786240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51" y="904155"/>
            <a:ext cx="7833270" cy="522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M:\CRIAÇÃO\IMAGENS E VETORES_SHUTTERSTOCK\IMAGENS\RISCOS CORPORATIVOS\shutterstock_5786240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58"/>
          <a:stretch/>
        </p:blipFill>
        <p:spPr bwMode="auto">
          <a:xfrm>
            <a:off x="7778337" y="904155"/>
            <a:ext cx="926275" cy="522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ângulo de cantos arredondados 7"/>
          <p:cNvSpPr/>
          <p:nvPr/>
        </p:nvSpPr>
        <p:spPr bwMode="auto">
          <a:xfrm>
            <a:off x="1028700" y="1100291"/>
            <a:ext cx="7239002" cy="2699822"/>
          </a:xfrm>
          <a:prstGeom prst="roundRect">
            <a:avLst/>
          </a:prstGeom>
          <a:solidFill>
            <a:srgbClr val="ECEEF0">
              <a:alpha val="80000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1685925" y="1465357"/>
            <a:ext cx="6327877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>
                  <a:lumMod val="50000"/>
                </a:schemeClr>
              </a:buClr>
            </a:pPr>
            <a:r>
              <a:rPr lang="pt-BR" sz="2000" b="1" u="none" dirty="0" smtClean="0">
                <a:solidFill>
                  <a:srgbClr val="B0A345"/>
                </a:solidFill>
                <a:latin typeface="Arial" pitchFamily="34" charset="0"/>
                <a:cs typeface="Arial" pitchFamily="34" charset="0"/>
              </a:rPr>
              <a:t>E afinal, Logística contribui para segurança ?</a:t>
            </a:r>
            <a:endParaRPr lang="pt-BR" sz="1800" u="none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Clr>
                <a:schemeClr val="tx2">
                  <a:lumMod val="50000"/>
                </a:schemeClr>
              </a:buClr>
            </a:pPr>
            <a:endParaRPr lang="pt-BR" sz="1800" u="none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Sistemas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de Informações Logísticas antecipam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decisões.</a:t>
            </a:r>
            <a:b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</a:br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O verdadeiro sucesso da Logística, é a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entrega.</a:t>
            </a:r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</a:rPr>
              <a:t>Todas as informações geradas pelo GR, devolvem indicadores de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</a:rPr>
              <a:t>performance.</a:t>
            </a:r>
            <a:endParaRPr lang="pt-BR" sz="1400" u="none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728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" y="2263"/>
            <a:ext cx="9142803" cy="685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2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etângulo 1"/>
          <p:cNvSpPr/>
          <p:nvPr/>
        </p:nvSpPr>
        <p:spPr>
          <a:xfrm>
            <a:off x="181918" y="1503363"/>
            <a:ext cx="88392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b="1" u="none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OBRIG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auto">
          <a:xfrm>
            <a:off x="1759893" y="2542104"/>
            <a:ext cx="6738648" cy="383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endParaRPr lang="en-US" sz="900" u="none" dirty="0">
              <a:solidFill>
                <a:schemeClr val="bg1"/>
              </a:solidFill>
            </a:endParaRPr>
          </a:p>
          <a:p>
            <a:pPr algn="ctr" eaLnBrk="1" hangingPunct="1">
              <a:lnSpc>
                <a:spcPct val="90000"/>
              </a:lnSpc>
            </a:pPr>
            <a:endParaRPr lang="en-US" sz="900" b="1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pt-BR" sz="1800" u="none" dirty="0" smtClean="0">
                <a:solidFill>
                  <a:schemeClr val="bg1"/>
                </a:solidFill>
              </a:rPr>
              <a:t>Marconi Peixoto</a:t>
            </a:r>
          </a:p>
          <a:p>
            <a:pPr eaLnBrk="1" hangingPunct="1">
              <a:lnSpc>
                <a:spcPct val="90000"/>
              </a:lnSpc>
            </a:pPr>
            <a:r>
              <a:rPr lang="pt-BR" sz="1600" u="none" dirty="0" smtClean="0">
                <a:solidFill>
                  <a:schemeClr val="bg1"/>
                </a:solidFill>
              </a:rPr>
              <a:t>Coordenador </a:t>
            </a:r>
            <a:r>
              <a:rPr lang="pt-BR" sz="1600" u="none" dirty="0">
                <a:solidFill>
                  <a:schemeClr val="bg1"/>
                </a:solidFill>
              </a:rPr>
              <a:t>de Logística e Gerenciamento de </a:t>
            </a:r>
            <a:r>
              <a:rPr lang="pt-BR" sz="1600" u="none" dirty="0" smtClean="0">
                <a:solidFill>
                  <a:schemeClr val="bg1"/>
                </a:solidFill>
              </a:rPr>
              <a:t>Riscos</a:t>
            </a:r>
            <a:endParaRPr lang="en-US" sz="1600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endParaRPr lang="en-US" sz="1600" u="none" dirty="0">
              <a:solidFill>
                <a:schemeClr val="bg1"/>
              </a:solidFill>
            </a:endParaRPr>
          </a:p>
        </p:txBody>
      </p:sp>
      <p:pic>
        <p:nvPicPr>
          <p:cNvPr id="10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910" y="3422771"/>
            <a:ext cx="269702" cy="27903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050" y="3093789"/>
            <a:ext cx="269702" cy="279031"/>
          </a:xfrm>
          <a:prstGeom prst="rect">
            <a:avLst/>
          </a:prstGeom>
        </p:spPr>
      </p:pic>
      <p:sp>
        <p:nvSpPr>
          <p:cNvPr id="14" name="Title 4"/>
          <p:cNvSpPr txBox="1">
            <a:spLocks/>
          </p:cNvSpPr>
          <p:nvPr/>
        </p:nvSpPr>
        <p:spPr bwMode="auto">
          <a:xfrm>
            <a:off x="2070712" y="2925558"/>
            <a:ext cx="2336188" cy="887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+</a:t>
            </a:r>
            <a:r>
              <a:rPr lang="pt-BR" sz="1000" u="none" dirty="0">
                <a:solidFill>
                  <a:schemeClr val="bg1"/>
                </a:solidFill>
              </a:rPr>
              <a:t>55 (11) </a:t>
            </a:r>
            <a:r>
              <a:rPr lang="pt-BR" sz="1000" u="none" dirty="0" smtClean="0">
                <a:solidFill>
                  <a:schemeClr val="bg1"/>
                </a:solidFill>
              </a:rPr>
              <a:t>2161-0335</a:t>
            </a:r>
            <a:endParaRPr lang="pt-BR" sz="1000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200000"/>
              </a:lnSpc>
            </a:pPr>
            <a:r>
              <a:rPr lang="pt-BR" sz="1000" u="none" dirty="0">
                <a:solidFill>
                  <a:schemeClr val="bg1"/>
                </a:solidFill>
              </a:rPr>
              <a:t>m</a:t>
            </a:r>
            <a:r>
              <a:rPr lang="pt-BR" sz="1000" u="none" dirty="0" smtClean="0">
                <a:solidFill>
                  <a:schemeClr val="bg1"/>
                </a:solidFill>
              </a:rPr>
              <a:t>arconi.peixoto@willis.com</a:t>
            </a:r>
            <a:endParaRPr lang="en-US" sz="900" b="1" u="none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4" t="34396" r="31244" b="41139"/>
          <a:stretch/>
        </p:blipFill>
        <p:spPr>
          <a:xfrm>
            <a:off x="3775935" y="5205769"/>
            <a:ext cx="1699708" cy="85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7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" r="6431"/>
          <a:stretch/>
        </p:blipFill>
        <p:spPr bwMode="auto">
          <a:xfrm>
            <a:off x="1215614" y="1172817"/>
            <a:ext cx="6755802" cy="482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3091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01" r="4507" b="17250"/>
          <a:stretch/>
        </p:blipFill>
        <p:spPr bwMode="auto">
          <a:xfrm>
            <a:off x="1072485" y="1430773"/>
            <a:ext cx="6956090" cy="410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3091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etângulo 1"/>
          <p:cNvSpPr/>
          <p:nvPr/>
        </p:nvSpPr>
        <p:spPr>
          <a:xfrm>
            <a:off x="181918" y="1503363"/>
            <a:ext cx="88392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b="1" u="none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OBRIG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auto">
          <a:xfrm>
            <a:off x="1759893" y="2542104"/>
            <a:ext cx="6738648" cy="383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endParaRPr lang="en-US" sz="900" u="none" dirty="0">
              <a:solidFill>
                <a:schemeClr val="bg1"/>
              </a:solidFill>
            </a:endParaRPr>
          </a:p>
          <a:p>
            <a:pPr algn="ctr" eaLnBrk="1" hangingPunct="1">
              <a:lnSpc>
                <a:spcPct val="90000"/>
              </a:lnSpc>
            </a:pPr>
            <a:endParaRPr lang="en-US" sz="900" b="1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pt-BR" sz="1800" u="none" dirty="0" smtClean="0">
                <a:solidFill>
                  <a:schemeClr val="bg1"/>
                </a:solidFill>
              </a:rPr>
              <a:t>Marconi Peixoto</a:t>
            </a:r>
          </a:p>
          <a:p>
            <a:pPr eaLnBrk="1" hangingPunct="1">
              <a:lnSpc>
                <a:spcPct val="90000"/>
              </a:lnSpc>
            </a:pPr>
            <a:r>
              <a:rPr lang="pt-BR" sz="1600" u="none" dirty="0" smtClean="0">
                <a:solidFill>
                  <a:schemeClr val="bg1"/>
                </a:solidFill>
              </a:rPr>
              <a:t>Coordenador </a:t>
            </a:r>
            <a:r>
              <a:rPr lang="pt-BR" sz="1600" u="none" dirty="0">
                <a:solidFill>
                  <a:schemeClr val="bg1"/>
                </a:solidFill>
              </a:rPr>
              <a:t>de Logística e Gerenciamento de </a:t>
            </a:r>
            <a:r>
              <a:rPr lang="pt-BR" sz="1600" u="none" dirty="0" smtClean="0">
                <a:solidFill>
                  <a:schemeClr val="bg1"/>
                </a:solidFill>
              </a:rPr>
              <a:t>Riscos</a:t>
            </a:r>
            <a:endParaRPr lang="en-US" sz="1600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endParaRPr lang="en-US" sz="1600" u="none" dirty="0">
              <a:solidFill>
                <a:schemeClr val="bg1"/>
              </a:solidFill>
            </a:endParaRPr>
          </a:p>
        </p:txBody>
      </p:sp>
      <p:pic>
        <p:nvPicPr>
          <p:cNvPr id="10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910" y="3422771"/>
            <a:ext cx="269702" cy="27903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050" y="3093789"/>
            <a:ext cx="269702" cy="279031"/>
          </a:xfrm>
          <a:prstGeom prst="rect">
            <a:avLst/>
          </a:prstGeom>
        </p:spPr>
      </p:pic>
      <p:sp>
        <p:nvSpPr>
          <p:cNvPr id="14" name="Title 4"/>
          <p:cNvSpPr txBox="1">
            <a:spLocks/>
          </p:cNvSpPr>
          <p:nvPr/>
        </p:nvSpPr>
        <p:spPr bwMode="auto">
          <a:xfrm>
            <a:off x="2070712" y="2925558"/>
            <a:ext cx="2336188" cy="887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+</a:t>
            </a:r>
            <a:r>
              <a:rPr lang="pt-BR" sz="1000" u="none" dirty="0">
                <a:solidFill>
                  <a:schemeClr val="bg1"/>
                </a:solidFill>
              </a:rPr>
              <a:t>55 (11) </a:t>
            </a:r>
            <a:r>
              <a:rPr lang="pt-BR" sz="1000" u="none" dirty="0" smtClean="0">
                <a:solidFill>
                  <a:schemeClr val="bg1"/>
                </a:solidFill>
              </a:rPr>
              <a:t>2161-0335</a:t>
            </a:r>
            <a:endParaRPr lang="pt-BR" sz="1000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200000"/>
              </a:lnSpc>
            </a:pPr>
            <a:r>
              <a:rPr lang="pt-BR" sz="1000" u="none" dirty="0">
                <a:solidFill>
                  <a:schemeClr val="bg1"/>
                </a:solidFill>
              </a:rPr>
              <a:t>m</a:t>
            </a:r>
            <a:r>
              <a:rPr lang="pt-BR" sz="1000" u="none" dirty="0" smtClean="0">
                <a:solidFill>
                  <a:schemeClr val="bg1"/>
                </a:solidFill>
              </a:rPr>
              <a:t>arconi.peixoto@willis.com</a:t>
            </a:r>
            <a:endParaRPr lang="en-US" sz="900" b="1" u="none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4" t="34396" r="31244" b="41139"/>
          <a:stretch/>
        </p:blipFill>
        <p:spPr>
          <a:xfrm>
            <a:off x="3775935" y="5205769"/>
            <a:ext cx="1699708" cy="85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97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15950" y="1280210"/>
            <a:ext cx="4057650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200"/>
              </a:lnSpc>
            </a:pPr>
            <a:r>
              <a:rPr lang="en-US" sz="4000" u="none" dirty="0" err="1" smtClean="0">
                <a:solidFill>
                  <a:srgbClr val="003A60"/>
                </a:solidFill>
                <a:latin typeface="Cambria" panose="02040503050406030204" pitchFamily="18" charset="0"/>
              </a:rPr>
              <a:t>Logística</a:t>
            </a:r>
            <a:r>
              <a:rPr lang="en-US" sz="4000" u="none" dirty="0" smtClean="0">
                <a:solidFill>
                  <a:srgbClr val="003A60"/>
                </a:solidFill>
                <a:latin typeface="Cambria" panose="02040503050406030204" pitchFamily="18" charset="0"/>
              </a:rPr>
              <a:t>, </a:t>
            </a:r>
            <a:r>
              <a:rPr lang="en-US" sz="4000" u="none" dirty="0" err="1" smtClean="0">
                <a:solidFill>
                  <a:srgbClr val="003A60"/>
                </a:solidFill>
                <a:latin typeface="Cambria" panose="02040503050406030204" pitchFamily="18" charset="0"/>
              </a:rPr>
              <a:t>Armazenagem</a:t>
            </a:r>
            <a:r>
              <a:rPr lang="en-US" sz="4000" u="none" dirty="0" smtClean="0">
                <a:solidFill>
                  <a:srgbClr val="003A60"/>
                </a:solidFill>
                <a:latin typeface="Cambria" panose="02040503050406030204" pitchFamily="18" charset="0"/>
              </a:rPr>
              <a:t> e </a:t>
            </a:r>
            <a:r>
              <a:rPr lang="en-US" sz="4000" u="none" dirty="0" err="1" smtClean="0">
                <a:solidFill>
                  <a:srgbClr val="003A60"/>
                </a:solidFill>
                <a:latin typeface="Cambria" panose="02040503050406030204" pitchFamily="18" charset="0"/>
              </a:rPr>
              <a:t>Transporte</a:t>
            </a:r>
            <a:endParaRPr lang="en-US" sz="4000" u="none" dirty="0" smtClean="0">
              <a:solidFill>
                <a:srgbClr val="003A60"/>
              </a:solidFill>
              <a:latin typeface="Cambria" panose="02040503050406030204" pitchFamily="18" charset="0"/>
            </a:endParaRPr>
          </a:p>
          <a:p>
            <a:pPr>
              <a:lnSpc>
                <a:spcPts val="2100"/>
              </a:lnSpc>
            </a:pPr>
            <a:r>
              <a:rPr lang="pt-BR" sz="3000" b="1" u="none" kern="2000" dirty="0">
                <a:solidFill>
                  <a:srgbClr val="003A60"/>
                </a:solidFill>
                <a:latin typeface="+mn-lt"/>
              </a:rPr>
              <a:t/>
            </a:r>
            <a:br>
              <a:rPr lang="pt-BR" sz="3000" b="1" u="none" kern="2000" dirty="0">
                <a:solidFill>
                  <a:srgbClr val="003A60"/>
                </a:solidFill>
                <a:latin typeface="+mn-lt"/>
              </a:rPr>
            </a:br>
            <a:r>
              <a:rPr lang="en-US" sz="1800" u="none" dirty="0" smtClean="0">
                <a:solidFill>
                  <a:srgbClr val="003A60"/>
                </a:solidFill>
                <a:latin typeface="Cambria" panose="02040503050406030204" pitchFamily="18" charset="0"/>
              </a:rPr>
              <a:t>Marconi </a:t>
            </a:r>
            <a:r>
              <a:rPr lang="en-US" sz="1800" u="none" dirty="0" err="1" smtClean="0">
                <a:solidFill>
                  <a:srgbClr val="003A60"/>
                </a:solidFill>
                <a:latin typeface="Cambria" panose="02040503050406030204" pitchFamily="18" charset="0"/>
              </a:rPr>
              <a:t>Peixoto</a:t>
            </a:r>
            <a:r>
              <a:rPr lang="en-US" sz="1800" u="none" dirty="0" smtClean="0">
                <a:solidFill>
                  <a:srgbClr val="003A60"/>
                </a:solidFill>
                <a:latin typeface="Cambria" panose="02040503050406030204" pitchFamily="18" charset="0"/>
              </a:rPr>
              <a:t>.</a:t>
            </a:r>
            <a:endParaRPr lang="pt-BR" sz="1600" u="none" dirty="0" smtClean="0">
              <a:solidFill>
                <a:srgbClr val="003A60"/>
              </a:solidFill>
              <a:latin typeface="Cambria" panose="02040503050406030204" pitchFamily="18" charset="0"/>
            </a:endParaRPr>
          </a:p>
          <a:p>
            <a:pPr>
              <a:lnSpc>
                <a:spcPts val="2100"/>
              </a:lnSpc>
            </a:pPr>
            <a:endParaRPr lang="pt-BR" sz="1600" u="none" dirty="0">
              <a:solidFill>
                <a:srgbClr val="003A60"/>
              </a:solidFill>
              <a:latin typeface="Cambria" panose="02040503050406030204" pitchFamily="18" charset="0"/>
            </a:endParaRPr>
          </a:p>
          <a:p>
            <a:pPr>
              <a:lnSpc>
                <a:spcPts val="2100"/>
              </a:lnSpc>
            </a:pPr>
            <a:endParaRPr lang="en-US" sz="1600" u="none" dirty="0" smtClean="0">
              <a:solidFill>
                <a:srgbClr val="003A60"/>
              </a:solidFill>
              <a:latin typeface="Cambria" panose="020405030504060302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0422" y="3907309"/>
            <a:ext cx="3308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u="none" dirty="0">
                <a:solidFill>
                  <a:srgbClr val="003A60"/>
                </a:solidFill>
              </a:rPr>
              <a:t>São Paulo, </a:t>
            </a:r>
            <a:r>
              <a:rPr lang="pt-BR" sz="1600" u="none" dirty="0" smtClean="0">
                <a:solidFill>
                  <a:srgbClr val="003A60"/>
                </a:solidFill>
              </a:rPr>
              <a:t>28 </a:t>
            </a:r>
            <a:r>
              <a:rPr lang="pt-BR" sz="1600" u="none" dirty="0">
                <a:solidFill>
                  <a:srgbClr val="003A60"/>
                </a:solidFill>
              </a:rPr>
              <a:t>de </a:t>
            </a:r>
            <a:r>
              <a:rPr lang="pt-BR" sz="1600" u="none" dirty="0" smtClean="0">
                <a:solidFill>
                  <a:srgbClr val="003A60"/>
                </a:solidFill>
              </a:rPr>
              <a:t>outubro </a:t>
            </a:r>
            <a:r>
              <a:rPr lang="pt-BR" sz="1600" u="none" dirty="0">
                <a:solidFill>
                  <a:srgbClr val="003A60"/>
                </a:solidFill>
              </a:rPr>
              <a:t>de </a:t>
            </a:r>
            <a:r>
              <a:rPr lang="pt-BR" sz="1600" u="none" dirty="0" smtClean="0">
                <a:solidFill>
                  <a:srgbClr val="003A60"/>
                </a:solidFill>
              </a:rPr>
              <a:t>2015</a:t>
            </a:r>
            <a:endParaRPr lang="en-US" sz="1600" u="none" dirty="0">
              <a:solidFill>
                <a:srgbClr val="003A60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rconi </a:t>
            </a:r>
            <a:r>
              <a:rPr lang="en-GB" dirty="0" err="1" smtClean="0"/>
              <a:t>Peixoto</a:t>
            </a:r>
            <a:endParaRPr lang="en-GB" dirty="0" smtClean="0"/>
          </a:p>
        </p:txBody>
      </p:sp>
      <p:sp>
        <p:nvSpPr>
          <p:cNvPr id="1024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/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dirty="0" smtClean="0"/>
              <a:t>Coordenador de Logística e Gerenciamento de Riscos – Willis Brasil</a:t>
            </a:r>
            <a:endParaRPr lang="en-GB" dirty="0" smtClean="0"/>
          </a:p>
        </p:txBody>
      </p:sp>
      <p:sp>
        <p:nvSpPr>
          <p:cNvPr id="7" name="Rounded Rectangle 11"/>
          <p:cNvSpPr/>
          <p:nvPr/>
        </p:nvSpPr>
        <p:spPr>
          <a:xfrm>
            <a:off x="971600" y="1825774"/>
            <a:ext cx="7200800" cy="2736304"/>
          </a:xfrm>
          <a:prstGeom prst="roundRect">
            <a:avLst>
              <a:gd name="adj" fmla="val 3132"/>
            </a:avLst>
          </a:prstGeom>
          <a:solidFill>
            <a:srgbClr val="FFFFFF">
              <a:alpha val="9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aixaDeTexto 2"/>
          <p:cNvSpPr txBox="1">
            <a:spLocks noChangeArrowheads="1"/>
          </p:cNvSpPr>
          <p:nvPr/>
        </p:nvSpPr>
        <p:spPr bwMode="auto">
          <a:xfrm>
            <a:off x="3664351" y="2075253"/>
            <a:ext cx="4052356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Formado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em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Direito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com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ós-Graduação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em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dministração com Ênfase em Seguros, possui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mais de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30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anos de experiência no mercado de seguros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e Gerenciamento de Riscos,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tendo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tuado em Seguradoras, Corretoras e Gerenciadoras de Risco. </a:t>
            </a:r>
          </a:p>
          <a:p>
            <a:pPr eaLnBrk="1" hangingPunct="1"/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rofessor convidado em Cursos de Graduação, Pós Graduação e MBA, está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na Willis desde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2014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e atualmente responde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or todas as Ações de Gerenciamento de Risco dos clientes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de Transporte e Logística</a:t>
            </a:r>
            <a:r>
              <a:rPr lang="pt-BR" sz="1400" u="none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.</a:t>
            </a:r>
            <a:endParaRPr lang="pt-BR" sz="1400" i="1" u="none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pic>
        <p:nvPicPr>
          <p:cNvPr id="7170" name="Picture 2" descr="M:\ÁREAS CORPORATIVAS\RH\2015\FOTOS CRACHÁ NOVO\SAO PAULO\Geral\2015-06-08\DSC01725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25" t="-675" r="36519" b="14770"/>
          <a:stretch/>
        </p:blipFill>
        <p:spPr bwMode="auto">
          <a:xfrm>
            <a:off x="1562099" y="2072419"/>
            <a:ext cx="1828801" cy="2423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ouble Bracket 5"/>
          <p:cNvSpPr/>
          <p:nvPr/>
        </p:nvSpPr>
        <p:spPr>
          <a:xfrm>
            <a:off x="1047750" y="1746875"/>
            <a:ext cx="6915150" cy="3091823"/>
          </a:xfrm>
          <a:prstGeom prst="bracketPair">
            <a:avLst>
              <a:gd name="adj" fmla="val 14897"/>
            </a:avLst>
          </a:prstGeom>
          <a:ln w="38100">
            <a:solidFill>
              <a:srgbClr val="914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ext Placeholder 2"/>
          <p:cNvSpPr>
            <a:spLocks noGrp="1"/>
          </p:cNvSpPr>
          <p:nvPr>
            <p:ph type="body" idx="1"/>
          </p:nvPr>
        </p:nvSpPr>
        <p:spPr>
          <a:xfrm>
            <a:off x="1638299" y="1895368"/>
            <a:ext cx="7505701" cy="1500187"/>
          </a:xfrm>
        </p:spPr>
        <p:txBody>
          <a:bodyPr/>
          <a:lstStyle/>
          <a:p>
            <a:r>
              <a:rPr lang="pt-BR" sz="1800" dirty="0" smtClean="0"/>
              <a:t>O que fazer? Alternativas ao Cenário</a:t>
            </a:r>
            <a:r>
              <a:rPr lang="pt-BR" dirty="0" smtClean="0">
                <a:latin typeface="Cambria" panose="02040503050406030204" pitchFamily="18" charset="0"/>
              </a:rPr>
              <a:t/>
            </a:r>
            <a:br>
              <a:rPr lang="pt-BR" dirty="0" smtClean="0">
                <a:latin typeface="Cambria" panose="02040503050406030204" pitchFamily="18" charset="0"/>
              </a:rPr>
            </a:br>
            <a:r>
              <a:rPr lang="pt-BR" sz="1400" dirty="0" smtClean="0">
                <a:latin typeface="Cambria" panose="02040503050406030204" pitchFamily="18" charset="0"/>
              </a:rPr>
              <a:t/>
            </a:r>
            <a:br>
              <a:rPr lang="pt-BR" sz="1400" dirty="0" smtClean="0">
                <a:latin typeface="Cambria" panose="02040503050406030204" pitchFamily="18" charset="0"/>
              </a:rPr>
            </a:br>
            <a:r>
              <a:rPr lang="en-GB" sz="1400" kern="1200" dirty="0">
                <a:solidFill>
                  <a:srgbClr val="B0A345"/>
                </a:solidFill>
              </a:rPr>
              <a:t>Gerenciamento de Riscos no Seguro de Transportes: cultura ou simples imposição?</a:t>
            </a:r>
          </a:p>
        </p:txBody>
      </p:sp>
      <p:sp>
        <p:nvSpPr>
          <p:cNvPr id="12" name="CaixaDeTexto 3"/>
          <p:cNvSpPr txBox="1">
            <a:spLocks noChangeArrowheads="1"/>
          </p:cNvSpPr>
          <p:nvPr/>
        </p:nvSpPr>
        <p:spPr bwMode="auto">
          <a:xfrm>
            <a:off x="1609629" y="3377660"/>
            <a:ext cx="5490418" cy="2339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sz="1600" b="1" u="none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nceito de GR (no Seguro de Transportes); </a:t>
            </a: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O que objetiva;</a:t>
            </a: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Onde é aplicado;</a:t>
            </a: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mo é aplicado / Etapas.</a:t>
            </a: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2713" y="344244"/>
            <a:ext cx="8720137" cy="444220"/>
          </a:xfrm>
        </p:spPr>
        <p:txBody>
          <a:bodyPr/>
          <a:lstStyle/>
          <a:p>
            <a:r>
              <a:rPr lang="pt-BR" sz="2000" dirty="0" smtClean="0"/>
              <a:t>Gerenciamento </a:t>
            </a:r>
            <a:r>
              <a:rPr lang="pt-BR" sz="2000" dirty="0"/>
              <a:t>de Riscos no Seguro de Transportes:</a:t>
            </a:r>
            <a:br>
              <a:rPr lang="pt-BR" sz="2000" dirty="0"/>
            </a:br>
            <a:r>
              <a:rPr lang="pt-BR" sz="2000" dirty="0"/>
              <a:t>Cultura ou simples Imposição</a:t>
            </a:r>
            <a:r>
              <a:rPr lang="pt-BR" sz="2000" dirty="0" smtClean="0"/>
              <a:t>?</a:t>
            </a:r>
            <a:endParaRPr lang="pt-BR" sz="2000" dirty="0"/>
          </a:p>
        </p:txBody>
      </p:sp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243375" y="143054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662924" y="1043532"/>
            <a:ext cx="7488832" cy="5109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sz="1600" b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“...</a:t>
            </a:r>
            <a:r>
              <a:rPr lang="pt-BR" sz="12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Muitos 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operadores logísticos se negam a trabalhar com produtos “muito visados” pelos ladrões. </a:t>
            </a:r>
            <a:r>
              <a:rPr lang="pt-BR" sz="1200" i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Produtos como pneus, cigarros, medicamentos e eletroeletrônicos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exigem programas de gerenciamento de riscos e apólices de seguro cada vez mais complexas e sofisticadas.</a:t>
            </a:r>
          </a:p>
          <a:p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 </a:t>
            </a:r>
            <a:endParaRPr lang="pt-BR" sz="1200" i="1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r>
              <a:rPr lang="pt-BR" sz="12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Dados 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do setor dão conta que um </a:t>
            </a:r>
            <a:r>
              <a:rPr lang="pt-BR" sz="1200" i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grande número de companhias seguradoras existentes no Brasil não gosta (ou não quer) operar no ramo de transportes de carga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, por exemplo, e </a:t>
            </a:r>
            <a:r>
              <a:rPr lang="pt-BR" sz="1200" i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quando o fazem, impõem uma série de restrições e limitações e/ou obrigações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que, além de aumentarem os custos correspondentes, geram obstáculos e, até mesmo, total inviabilidade operacional.</a:t>
            </a:r>
          </a:p>
          <a:p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 </a:t>
            </a:r>
          </a:p>
          <a:p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Talvez no transporte essas exigências sejam cada vez maiores: cobertura por veículo muito baixa alto valor de franquia (em alguns casos chega a 30% do valor do prejuízo em casos de sinistro), </a:t>
            </a:r>
            <a:r>
              <a:rPr lang="pt-BR" sz="1200" i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obrigatoriamente de rastreamento, escolta e cadastro de motoristas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simultaneamente e para todo e qualquer tipo de carga, são alguns exemplos</a:t>
            </a:r>
            <a:r>
              <a:rPr lang="pt-BR" sz="12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.</a:t>
            </a:r>
          </a:p>
          <a:p>
            <a:endParaRPr lang="pt-BR" sz="1200" i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Com consequência, </a:t>
            </a:r>
            <a:r>
              <a:rPr lang="pt-BR" sz="1200" i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despesas com segurança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e adoção de medidas preventivas no transporte de cargas já equivalem entre </a:t>
            </a:r>
            <a:r>
              <a:rPr lang="pt-BR" sz="1200" i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13% a 17% dos custos de operação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, sendo que algumas apólices de seguro aumentaram mais de 30% (reais) nos últimos anos</a:t>
            </a:r>
            <a:r>
              <a:rPr lang="pt-BR" sz="12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.</a:t>
            </a:r>
          </a:p>
          <a:p>
            <a:endParaRPr lang="pt-BR" sz="1200" i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Esta é uma situação antiga, pois no Relatório Final da CPI Mista do Congresso Nacional </a:t>
            </a:r>
            <a:r>
              <a:rPr lang="pt-BR" sz="12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, </a:t>
            </a:r>
            <a:r>
              <a:rPr lang="pt-BR" sz="12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sobre roubo de cargas, já estava explícito que o “aumento em média de 40% do custo do seguro, inviabiliza, em parte, a rentabilidade das empresas. Com o reduzido número de seguradoras oferecendo cobertura contra o roubo de carga, e a imposição de condições quase impossíveis de se cumprir, levou mais de 200 empresas a falência nos últimos dois anos</a:t>
            </a:r>
            <a:r>
              <a:rPr lang="pt-BR" sz="12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...”</a:t>
            </a:r>
            <a:r>
              <a:rPr lang="pt-BR" sz="1200" b="1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     Press </a:t>
            </a:r>
            <a:r>
              <a:rPr lang="pt-BR" sz="1200" b="1" i="1" u="none" dirty="0" err="1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realeases</a:t>
            </a:r>
            <a:r>
              <a:rPr lang="pt-BR" sz="1200" b="1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 2014  de um Operador Logístico</a:t>
            </a:r>
            <a:endParaRPr lang="pt-BR" sz="1200" b="1" i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solidFill>
                <a:schemeClr val="accent5">
                  <a:lumMod val="50000"/>
                </a:schemeClr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8012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1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92F6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1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92F6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1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C6CAD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1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C6CAD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1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92F6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243375" y="143054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-333616" y="1322962"/>
            <a:ext cx="8373499" cy="492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chemeClr val="tx2">
                  <a:lumMod val="50000"/>
                </a:schemeClr>
              </a:buClr>
            </a:pPr>
            <a:endParaRPr lang="pt-BR" sz="12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1028700" lvl="1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b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“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A função do Gerenciamento de Riscos é a de reduzir perdas e minimizar os seus efeitos. O gerenciamento de riscos é um contínuo processo de busca de defeitos, ou de quase-defeitos, com vistas à sua prevenção. Esses defeitos são chamados riscos. Risco é uma chance de perda e provavelmente, o mais importante degrau no processo de identificação e gerenciamento das perdas”  </a:t>
            </a:r>
            <a:r>
              <a:rPr lang="pt-BR" sz="1400" i="1" u="none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ntonio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Fernando 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Navarro</a:t>
            </a:r>
          </a:p>
          <a:p>
            <a:pPr marL="1028700" lvl="1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400" i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1028700" lvl="1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“Gerenciamento de Riscos é o meio pelo qual a incerteza e os fatores de risco encontrados, são sistematicamente mapeados e gerenciados, visando aumentar a </a:t>
            </a:r>
            <a:r>
              <a:rPr lang="pt-BR" sz="1400" i="1" u="none" dirty="0" err="1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ropabilidade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 de sucesso e de cumprimento dos objetivos da organização, por meio da extinção de alguns fatores, minimização de outros e financiamento daqueles remanescentes” Diogo de </a:t>
            </a:r>
            <a:r>
              <a:rPr lang="pt-BR" sz="1400" i="1" u="none" dirty="0" err="1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Mendonsa</a:t>
            </a:r>
            <a:r>
              <a:rPr lang="pt-BR" sz="1400" i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 A. Maciel </a:t>
            </a:r>
          </a:p>
          <a:p>
            <a:pPr lvl="1" indent="0" eaLnBrk="1" hangingPunct="1">
              <a:buClr>
                <a:schemeClr val="tx2">
                  <a:lumMod val="50000"/>
                </a:schemeClr>
              </a:buClr>
            </a:pPr>
            <a:endParaRPr lang="pt-BR" sz="1400" b="1" i="1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1028700" lvl="1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“Gerenciamento de Riscos” é o conjunto de medidas adotadas para conhecer, eliminar, diminuir e transferir os riscos, reduzindo assim a probabilidade de um evento que cause impactos negativos, acontecer” </a:t>
            </a:r>
            <a:r>
              <a:rPr lang="pt-BR" sz="1400" i="1" u="none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Julio</a:t>
            </a:r>
            <a:r>
              <a:rPr lang="pt-BR" sz="1400" i="1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Filho – Revista Seguro em Foco</a:t>
            </a:r>
          </a:p>
          <a:p>
            <a:pPr marL="914400" lvl="3" indent="0" eaLnBrk="1" hangingPunct="1">
              <a:buClr>
                <a:schemeClr val="tx2">
                  <a:lumMod val="50000"/>
                </a:schemeClr>
              </a:buClr>
            </a:pPr>
            <a:endParaRPr lang="pt-BR" sz="1200" b="1" i="1" u="none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marL="914400" lvl="3" indent="0" eaLnBrk="1" hangingPunct="1">
              <a:buClr>
                <a:schemeClr val="tx2">
                  <a:lumMod val="50000"/>
                </a:schemeClr>
              </a:buClr>
            </a:pPr>
            <a:endParaRPr lang="pt-BR" sz="1200" b="1" i="1" u="none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marL="914400" lvl="3" indent="0" eaLnBrk="1" hangingPunct="1">
              <a:buClr>
                <a:schemeClr val="tx2">
                  <a:lumMod val="50000"/>
                </a:schemeClr>
              </a:buClr>
            </a:pPr>
            <a:r>
              <a:rPr lang="pt-BR" sz="1200" b="1" u="none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“</a:t>
            </a:r>
            <a:r>
              <a:rPr lang="pt-BR" sz="1200" b="1" i="1" u="none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njunto de regras, procedimentos e controles, lastreados ou não por tecnologia, empregados para reduzir a exposição de risco de um determinado bem, aos eventos danosos a  que está sujeito</a:t>
            </a:r>
            <a:r>
              <a:rPr lang="pt-BR" sz="1200" b="1" u="none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”  </a:t>
            </a:r>
            <a:r>
              <a:rPr lang="pt-BR" sz="1200" u="non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(definição livre).</a:t>
            </a:r>
            <a:endParaRPr lang="pt-BR" sz="1200" u="none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/>
          <a:p>
            <a:pPr marL="0" indent="0"/>
            <a:r>
              <a:rPr lang="pt-BR" dirty="0" smtClean="0">
                <a:solidFill>
                  <a:srgbClr val="B0A345"/>
                </a:solidFill>
              </a:rPr>
              <a:t>Conceito </a:t>
            </a:r>
            <a:r>
              <a:rPr lang="pt-BR" dirty="0">
                <a:solidFill>
                  <a:srgbClr val="B0A345"/>
                </a:solidFill>
              </a:rPr>
              <a:t>de GR (no Seguro de Transportes) 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19444602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grpSp>
        <p:nvGrpSpPr>
          <p:cNvPr id="8" name="Group 5"/>
          <p:cNvGrpSpPr>
            <a:grpSpLocks/>
          </p:cNvGrpSpPr>
          <p:nvPr/>
        </p:nvGrpSpPr>
        <p:grpSpPr bwMode="auto">
          <a:xfrm>
            <a:off x="361950" y="1682272"/>
            <a:ext cx="8448675" cy="3586163"/>
            <a:chOff x="204" y="1263"/>
            <a:chExt cx="5322" cy="2259"/>
          </a:xfrm>
        </p:grpSpPr>
        <p:sp>
          <p:nvSpPr>
            <p:cNvPr id="9" name="Text Box 6"/>
            <p:cNvSpPr txBox="1">
              <a:spLocks noChangeArrowheads="1"/>
            </p:cNvSpPr>
            <p:nvPr/>
          </p:nvSpPr>
          <p:spPr bwMode="auto">
            <a:xfrm>
              <a:off x="204" y="1918"/>
              <a:ext cx="11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Eliminar</a:t>
              </a:r>
              <a:endParaRPr lang="pt-BR" altLang="en-US" sz="1200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372" y="1615"/>
              <a:ext cx="781" cy="215"/>
            </a:xfrm>
            <a:prstGeom prst="rect">
              <a:avLst/>
            </a:prstGeom>
            <a:solidFill>
              <a:srgbClr val="00FF00"/>
            </a:solidFill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100000"/>
                </a:lnSpc>
                <a:buClrTx/>
                <a:buSzTx/>
                <a:buFontTx/>
                <a:buNone/>
              </a:pPr>
              <a:endParaRPr lang="pt-BR" altLang="en-US" sz="1000" b="1">
                <a:solidFill>
                  <a:srgbClr val="0033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1208" y="1615"/>
              <a:ext cx="753" cy="215"/>
            </a:xfrm>
            <a:prstGeom prst="rect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pt-BR" altLang="en-US" sz="1000">
                <a:solidFill>
                  <a:srgbClr val="0033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2016" y="1615"/>
              <a:ext cx="3179" cy="215"/>
            </a:xfrm>
            <a:prstGeom prst="rect">
              <a:avLst/>
            </a:prstGeom>
            <a:solidFill>
              <a:srgbClr val="FF0000"/>
            </a:solidFill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372" y="2932"/>
              <a:ext cx="3346" cy="216"/>
            </a:xfrm>
            <a:prstGeom prst="rect">
              <a:avLst/>
            </a:prstGeom>
            <a:solidFill>
              <a:srgbClr val="00FF00"/>
            </a:solidFill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3774" y="2931"/>
              <a:ext cx="947" cy="217"/>
            </a:xfrm>
            <a:prstGeom prst="rect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4778" y="2932"/>
              <a:ext cx="417" cy="216"/>
            </a:xfrm>
            <a:prstGeom prst="rect">
              <a:avLst/>
            </a:prstGeom>
            <a:solidFill>
              <a:srgbClr val="FF0000"/>
            </a:solidFill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Text Box 13"/>
            <p:cNvSpPr txBox="1">
              <a:spLocks noChangeArrowheads="1"/>
            </p:cNvSpPr>
            <p:nvPr/>
          </p:nvSpPr>
          <p:spPr bwMode="auto">
            <a:xfrm>
              <a:off x="1383" y="1263"/>
              <a:ext cx="2845" cy="2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500" b="1" u="none" dirty="0" smtClean="0">
                  <a:solidFill>
                    <a:schemeClr val="accent5">
                      <a:lumMod val="50000"/>
                    </a:schemeClr>
                  </a:solidFill>
                </a:rPr>
                <a:t>Sem Gestão de Riscos</a:t>
              </a:r>
              <a:endParaRPr lang="pt-BR" altLang="en-US" sz="1500" b="1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17" name="Text Box 14"/>
            <p:cNvSpPr txBox="1">
              <a:spLocks noChangeArrowheads="1"/>
            </p:cNvSpPr>
            <p:nvPr/>
          </p:nvSpPr>
          <p:spPr bwMode="auto">
            <a:xfrm>
              <a:off x="1383" y="2621"/>
              <a:ext cx="2844" cy="2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500" b="1" u="none" dirty="0" smtClean="0">
                  <a:solidFill>
                    <a:schemeClr val="accent5">
                      <a:lumMod val="50000"/>
                    </a:schemeClr>
                  </a:solidFill>
                </a:rPr>
                <a:t>Com Gestão de Riscos</a:t>
              </a:r>
              <a:endParaRPr lang="pt-BR" altLang="en-US" sz="1500" b="1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18" name="Text Box 15"/>
            <p:cNvSpPr txBox="1">
              <a:spLocks noChangeArrowheads="1"/>
            </p:cNvSpPr>
            <p:nvPr/>
          </p:nvSpPr>
          <p:spPr bwMode="auto">
            <a:xfrm>
              <a:off x="1041" y="1933"/>
              <a:ext cx="11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Minimizar</a:t>
              </a:r>
              <a:endParaRPr lang="pt-BR" altLang="en-US" sz="1200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19" name="Text Box 16"/>
            <p:cNvSpPr txBox="1">
              <a:spLocks noChangeArrowheads="1"/>
            </p:cNvSpPr>
            <p:nvPr/>
          </p:nvSpPr>
          <p:spPr bwMode="auto">
            <a:xfrm>
              <a:off x="2072" y="1902"/>
              <a:ext cx="295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Riscos Remanescentes </a:t>
              </a:r>
              <a:endParaRPr lang="pt-BR" altLang="en-US" sz="1200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0" name="Text Box 17"/>
            <p:cNvSpPr txBox="1">
              <a:spLocks noChangeArrowheads="1"/>
            </p:cNvSpPr>
            <p:nvPr/>
          </p:nvSpPr>
          <p:spPr bwMode="auto">
            <a:xfrm>
              <a:off x="1321" y="3246"/>
              <a:ext cx="11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Eliminar</a:t>
              </a:r>
              <a:endParaRPr lang="pt-BR" altLang="en-US" sz="1200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1" name="Text Box 18"/>
            <p:cNvSpPr txBox="1">
              <a:spLocks noChangeArrowheads="1"/>
            </p:cNvSpPr>
            <p:nvPr/>
          </p:nvSpPr>
          <p:spPr bwMode="auto">
            <a:xfrm>
              <a:off x="3663" y="3219"/>
              <a:ext cx="11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Minimizar</a:t>
              </a:r>
              <a:endParaRPr lang="pt-BR" altLang="en-US" sz="1200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2" name="Text Box 19"/>
            <p:cNvSpPr txBox="1">
              <a:spLocks noChangeArrowheads="1"/>
            </p:cNvSpPr>
            <p:nvPr/>
          </p:nvSpPr>
          <p:spPr bwMode="auto">
            <a:xfrm>
              <a:off x="4466" y="3231"/>
              <a:ext cx="1060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Riscos </a:t>
              </a:r>
              <a:b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</a:br>
              <a:r>
                <a:rPr lang="pt-BR" altLang="en-US" sz="1200" u="none" dirty="0" smtClean="0">
                  <a:solidFill>
                    <a:schemeClr val="accent5">
                      <a:lumMod val="50000"/>
                    </a:schemeClr>
                  </a:solidFill>
                </a:rPr>
                <a:t>Suportáveis</a:t>
              </a:r>
              <a:endParaRPr lang="pt-BR" altLang="en-US" sz="1200" u="none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</p:grpSp>
      <p:sp>
        <p:nvSpPr>
          <p:cNvPr id="23" name="Double Bracket 5"/>
          <p:cNvSpPr/>
          <p:nvPr/>
        </p:nvSpPr>
        <p:spPr>
          <a:xfrm>
            <a:off x="323849" y="1910872"/>
            <a:ext cx="8220075" cy="1111250"/>
          </a:xfrm>
          <a:prstGeom prst="bracketPair">
            <a:avLst>
              <a:gd name="adj" fmla="val 14897"/>
            </a:avLst>
          </a:prstGeom>
          <a:ln w="38100">
            <a:solidFill>
              <a:srgbClr val="914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Double Bracket 5"/>
          <p:cNvSpPr/>
          <p:nvPr/>
        </p:nvSpPr>
        <p:spPr>
          <a:xfrm>
            <a:off x="323850" y="3969382"/>
            <a:ext cx="8305800" cy="1111250"/>
          </a:xfrm>
          <a:prstGeom prst="bracketPair">
            <a:avLst>
              <a:gd name="adj" fmla="val 14897"/>
            </a:avLst>
          </a:prstGeom>
          <a:ln w="38100">
            <a:solidFill>
              <a:srgbClr val="914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3834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3"/>
          <p:cNvSpPr txBox="1">
            <a:spLocks noChangeArrowheads="1"/>
          </p:cNvSpPr>
          <p:nvPr/>
        </p:nvSpPr>
        <p:spPr bwMode="auto">
          <a:xfrm>
            <a:off x="243375" y="143054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662924" y="1043532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561068" y="1677507"/>
            <a:ext cx="8208912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Roubo de Carga</a:t>
            </a:r>
            <a:b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b="1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Organização das quadrilhas e rede de receptadores.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400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cidente com o Veículo Transportador -  Tombamentos e Colisões</a:t>
            </a:r>
            <a:b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b="1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ndições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de trabalho 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e cultura do Motorista;</a:t>
            </a: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ndições das Estradas;</a:t>
            </a: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Saques a carga.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400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>
              <a:buClr>
                <a:srgbClr val="B0A345"/>
              </a:buClr>
            </a:pPr>
            <a: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varias com a Carga   -  Consolidação / Amarração / Transportes</a:t>
            </a:r>
            <a:br>
              <a:rPr lang="pt-BR" sz="1400" b="1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400" b="1" u="none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ouco conhecimento técnico do processo;</a:t>
            </a: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Ineficiente manutenção dos materiais empregados;</a:t>
            </a:r>
          </a:p>
          <a:p>
            <a:pPr marL="285750" indent="-2857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Baixo </a:t>
            </a:r>
            <a:r>
              <a:rPr lang="pt-BR" sz="14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p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lanejamento dos </a:t>
            </a:r>
            <a:r>
              <a:rPr lang="pt-BR" sz="1400" u="none" dirty="0" err="1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ntenedores</a:t>
            </a:r>
            <a:r>
              <a:rPr lang="pt-BR" sz="14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 (racks e embalagens).</a:t>
            </a:r>
            <a:endParaRPr lang="pt-BR" sz="14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92763" y="1046454"/>
            <a:ext cx="19527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/>
            <a:r>
              <a:rPr lang="pt-BR" sz="1600" b="1" u="none" dirty="0" smtClean="0">
                <a:solidFill>
                  <a:srgbClr val="B0A345"/>
                </a:solidFill>
              </a:rPr>
              <a:t>Onde é aplicado? </a:t>
            </a:r>
            <a:endParaRPr lang="en-GB" sz="1600" b="1" u="none" dirty="0">
              <a:solidFill>
                <a:srgbClr val="B0A345"/>
              </a:solidFill>
            </a:endParaRP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pic>
        <p:nvPicPr>
          <p:cNvPr id="2051" name="Picture 3" descr="M:\CRIAÇÃO\IMAGENS E VETORES_SHUTTERSTOCK\IMAGENS\ÍCONES 3D\shutterstock_123656713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486"/>
          <a:stretch/>
        </p:blipFill>
        <p:spPr bwMode="auto">
          <a:xfrm>
            <a:off x="6709401" y="3985591"/>
            <a:ext cx="2191638" cy="157599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ouble Bracket 5"/>
          <p:cNvSpPr/>
          <p:nvPr/>
        </p:nvSpPr>
        <p:spPr>
          <a:xfrm>
            <a:off x="431542" y="2634607"/>
            <a:ext cx="5997833" cy="478879"/>
          </a:xfrm>
          <a:prstGeom prst="bracketPair">
            <a:avLst>
              <a:gd name="adj" fmla="val 14897"/>
            </a:avLst>
          </a:prstGeom>
          <a:ln w="38100">
            <a:solidFill>
              <a:srgbClr val="914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uble Bracket 5"/>
          <p:cNvSpPr/>
          <p:nvPr/>
        </p:nvSpPr>
        <p:spPr>
          <a:xfrm>
            <a:off x="431542" y="4130032"/>
            <a:ext cx="5864483" cy="478879"/>
          </a:xfrm>
          <a:prstGeom prst="bracketPair">
            <a:avLst>
              <a:gd name="adj" fmla="val 14897"/>
            </a:avLst>
          </a:prstGeom>
          <a:ln w="38100">
            <a:solidFill>
              <a:srgbClr val="914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uble Bracket 5"/>
          <p:cNvSpPr/>
          <p:nvPr/>
        </p:nvSpPr>
        <p:spPr>
          <a:xfrm>
            <a:off x="431542" y="1577332"/>
            <a:ext cx="1863983" cy="478879"/>
          </a:xfrm>
          <a:prstGeom prst="bracketPair">
            <a:avLst>
              <a:gd name="adj" fmla="val 14897"/>
            </a:avLst>
          </a:prstGeom>
          <a:ln w="38100">
            <a:solidFill>
              <a:srgbClr val="914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728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112713" y="344488"/>
            <a:ext cx="8720137" cy="444500"/>
          </a:xfrm>
        </p:spPr>
        <p:txBody>
          <a:bodyPr/>
          <a:lstStyle/>
          <a:p>
            <a:r>
              <a:rPr lang="pt-BR" sz="2000" dirty="0" smtClean="0"/>
              <a:t>O </a:t>
            </a:r>
            <a:r>
              <a:rPr lang="pt-BR" sz="2000" dirty="0"/>
              <a:t>que fazer?   Alternativas </a:t>
            </a:r>
            <a:r>
              <a:rPr lang="pt-BR" sz="2000" dirty="0" smtClean="0"/>
              <a:t> ao Cenário</a:t>
            </a:r>
            <a:endParaRPr lang="pt-BR" sz="2000" dirty="0"/>
          </a:p>
        </p:txBody>
      </p:sp>
      <p:pic>
        <p:nvPicPr>
          <p:cNvPr id="2050" name="Picture 2" descr="M:\CRIAÇÃO\IMAGENS E VETORES_SHUTTERSTOCK\IMAGENS\DIVERSOS\shutterstock_9104174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832" y="2340431"/>
            <a:ext cx="5467168" cy="38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688403" y="1293288"/>
            <a:ext cx="6823647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sz="2000" b="1" u="none" dirty="0">
                <a:solidFill>
                  <a:srgbClr val="B0A345"/>
                </a:solidFill>
                <a:latin typeface="Arial" pitchFamily="34" charset="0"/>
                <a:cs typeface="Arial" pitchFamily="34" charset="0"/>
              </a:rPr>
              <a:t>Roubos e Acidentes, Saques e Telemetria</a:t>
            </a:r>
          </a:p>
          <a:p>
            <a:pPr eaLnBrk="1" hangingPunct="1"/>
            <a:endParaRPr lang="pt-BR" sz="1600" b="1" u="none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enário; </a:t>
            </a:r>
            <a:b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5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Nova cultura / Empobrecimento moral;</a:t>
            </a:r>
            <a:b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5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rojetos de Prevenção </a:t>
            </a:r>
            <a:r>
              <a:rPr lang="pt-BR" sz="1500" u="none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omo implementar;</a:t>
            </a:r>
            <a:b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</a:br>
            <a:endParaRPr lang="pt-BR" sz="1500" u="none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500" u="none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Logística contribuindo para Segurança.</a:t>
            </a:r>
          </a:p>
          <a:p>
            <a:pPr marL="285750" indent="-285750" eaLnBrk="1" hangingPunct="1">
              <a:buClr>
                <a:schemeClr val="tx2">
                  <a:lumMod val="50000"/>
                </a:schemeClr>
              </a:buClr>
              <a:buFont typeface="Arial" pitchFamily="34" charset="0"/>
              <a:buChar char="•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eaLnBrk="1" hangingPunct="1"/>
            <a:endParaRPr lang="pt-BR" sz="1600" dirty="0"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728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Template D&amp;O">
  <a:themeElements>
    <a:clrScheme name="14_Custom Design 3">
      <a:dk1>
        <a:srgbClr val="132647"/>
      </a:dk1>
      <a:lt1>
        <a:srgbClr val="FFFFFF"/>
      </a:lt1>
      <a:dk2>
        <a:srgbClr val="F3DC99"/>
      </a:dk2>
      <a:lt2>
        <a:srgbClr val="717D91"/>
      </a:lt2>
      <a:accent1>
        <a:srgbClr val="A1A8B5"/>
      </a:accent1>
      <a:accent2>
        <a:srgbClr val="C7BEBB"/>
      </a:accent2>
      <a:accent3>
        <a:srgbClr val="FFFFFF"/>
      </a:accent3>
      <a:accent4>
        <a:srgbClr val="0E1F3B"/>
      </a:accent4>
      <a:accent5>
        <a:srgbClr val="CDD1D7"/>
      </a:accent5>
      <a:accent6>
        <a:srgbClr val="B4ACA9"/>
      </a:accent6>
      <a:hlink>
        <a:srgbClr val="9FB8E5"/>
      </a:hlink>
      <a:folHlink>
        <a:srgbClr val="F9EECC"/>
      </a:folHlink>
    </a:clrScheme>
    <a:fontScheme name="14_Custom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Custom Design 1">
        <a:dk1>
          <a:srgbClr val="132647"/>
        </a:dk1>
        <a:lt1>
          <a:srgbClr val="FFFFFF"/>
        </a:lt1>
        <a:dk2>
          <a:srgbClr val="C40811"/>
        </a:dk2>
        <a:lt2>
          <a:srgbClr val="9FB8E5"/>
        </a:lt2>
        <a:accent1>
          <a:srgbClr val="E7B933"/>
        </a:accent1>
        <a:accent2>
          <a:srgbClr val="42516C"/>
        </a:accent2>
        <a:accent3>
          <a:srgbClr val="FFFFFF"/>
        </a:accent3>
        <a:accent4>
          <a:srgbClr val="0E1F3B"/>
        </a:accent4>
        <a:accent5>
          <a:srgbClr val="F1D9AD"/>
        </a:accent5>
        <a:accent6>
          <a:srgbClr val="3B4961"/>
        </a:accent6>
        <a:hlink>
          <a:srgbClr val="C7BEB6"/>
        </a:hlink>
        <a:folHlink>
          <a:srgbClr val="4F8B6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ustom Design 2">
        <a:dk1>
          <a:srgbClr val="132647"/>
        </a:dk1>
        <a:lt1>
          <a:srgbClr val="FFFFFF"/>
        </a:lt1>
        <a:dk2>
          <a:srgbClr val="F3DC99"/>
        </a:dk2>
        <a:lt2>
          <a:srgbClr val="717D91"/>
        </a:lt2>
        <a:accent1>
          <a:srgbClr val="A1A8B5"/>
        </a:accent1>
        <a:accent2>
          <a:srgbClr val="C7BEBB"/>
        </a:accent2>
        <a:accent3>
          <a:srgbClr val="FFFFFF"/>
        </a:accent3>
        <a:accent4>
          <a:srgbClr val="0E1F3B"/>
        </a:accent4>
        <a:accent5>
          <a:srgbClr val="CDD1D7"/>
        </a:accent5>
        <a:accent6>
          <a:srgbClr val="B4ACA9"/>
        </a:accent6>
        <a:hlink>
          <a:srgbClr val="42516C"/>
        </a:hlink>
        <a:folHlink>
          <a:srgbClr val="F9EE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ustom Design 3">
        <a:dk1>
          <a:srgbClr val="132647"/>
        </a:dk1>
        <a:lt1>
          <a:srgbClr val="FFFFFF"/>
        </a:lt1>
        <a:dk2>
          <a:srgbClr val="F3DC99"/>
        </a:dk2>
        <a:lt2>
          <a:srgbClr val="717D91"/>
        </a:lt2>
        <a:accent1>
          <a:srgbClr val="A1A8B5"/>
        </a:accent1>
        <a:accent2>
          <a:srgbClr val="C7BEBB"/>
        </a:accent2>
        <a:accent3>
          <a:srgbClr val="FFFFFF"/>
        </a:accent3>
        <a:accent4>
          <a:srgbClr val="0E1F3B"/>
        </a:accent4>
        <a:accent5>
          <a:srgbClr val="CDD1D7"/>
        </a:accent5>
        <a:accent6>
          <a:srgbClr val="B4ACA9"/>
        </a:accent6>
        <a:hlink>
          <a:srgbClr val="9FB8E5"/>
        </a:hlink>
        <a:folHlink>
          <a:srgbClr val="F9EE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4801F036D6E942B1645C0DEAD1DD69" ma:contentTypeVersion="0" ma:contentTypeDescription="Create a new document." ma:contentTypeScope="" ma:versionID="52570ff392785c1ac75e0ddb54185b4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01DD0D5-7E31-46C5-AC51-BC192B297A36}">
  <ds:schemaRefs>
    <ds:schemaRef ds:uri="http://purl.org/dc/elements/1.1/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3C21ACAD-0FD9-4887-8D73-99842DF178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EBBC0D3-9939-4750-8AF9-F6B986C051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D&amp;O</Template>
  <TotalTime>2238</TotalTime>
  <Words>936</Words>
  <Application>Microsoft Office PowerPoint</Application>
  <PresentationFormat>Apresentação na tela (4:3)</PresentationFormat>
  <Paragraphs>284</Paragraphs>
  <Slides>19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1" baseType="lpstr">
      <vt:lpstr>Template D&amp;O</vt:lpstr>
      <vt:lpstr>think-cell Slide</vt:lpstr>
      <vt:lpstr>Apresentação do PowerPoint</vt:lpstr>
      <vt:lpstr>Apresentação do PowerPoint</vt:lpstr>
      <vt:lpstr>Marconi Peixoto</vt:lpstr>
      <vt:lpstr>Apresentação do PowerPoint</vt:lpstr>
      <vt:lpstr>Gerenciamento de Riscos no Seguro de Transportes: Cultura ou simples Imposição?</vt:lpstr>
      <vt:lpstr>O que fazer?   Alternativas  ao Cenário</vt:lpstr>
      <vt:lpstr>O que fazer?   Alternativas  ao Cenário</vt:lpstr>
      <vt:lpstr>O que fazer?   Alternativas  ao Cenário</vt:lpstr>
      <vt:lpstr>O que fazer?   Alternativas  ao Cenário</vt:lpstr>
      <vt:lpstr>O que fazer?   Alternativas  ao Cenário</vt:lpstr>
      <vt:lpstr>O que fazer?   Alternativas  ao Cenário</vt:lpstr>
      <vt:lpstr>O que fazer?   Alternativas  ao Cenário</vt:lpstr>
      <vt:lpstr>O que fazer?   Alternativas  ao Cenário</vt:lpstr>
      <vt:lpstr>O que fazer?   Alternativas  ao Cenário</vt:lpstr>
      <vt:lpstr>Apresentação do PowerPoint</vt:lpstr>
      <vt:lpstr>Apresentação do PowerPoint</vt:lpstr>
      <vt:lpstr>O que fazer?   Alternativas  ao Cenário</vt:lpstr>
      <vt:lpstr>O que fazer?   Alternativas  ao Cenário</vt:lpstr>
      <vt:lpstr>Apresentação do PowerPoint</vt:lpstr>
    </vt:vector>
  </TitlesOfParts>
  <Company>Will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rrat</dc:creator>
  <cp:lastModifiedBy>Peixoto, Marconi</cp:lastModifiedBy>
  <cp:revision>122</cp:revision>
  <cp:lastPrinted>2012-11-26T15:53:29Z</cp:lastPrinted>
  <dcterms:created xsi:type="dcterms:W3CDTF">2014-02-28T14:29:53Z</dcterms:created>
  <dcterms:modified xsi:type="dcterms:W3CDTF">2015-10-22T18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4801F036D6E942B1645C0DEAD1DD69</vt:lpwstr>
  </property>
  <property fmtid="{D5CDD505-2E9C-101B-9397-08002B2CF9AE}" pid="3" name="_AdHocReviewCycleID">
    <vt:i4>2008499640</vt:i4>
  </property>
  <property fmtid="{D5CDD505-2E9C-101B-9397-08002B2CF9AE}" pid="4" name="_NewReviewCycle">
    <vt:lpwstr/>
  </property>
  <property fmtid="{D5CDD505-2E9C-101B-9397-08002B2CF9AE}" pid="5" name="_EmailSubject">
    <vt:lpwstr>Apresentação ABGR</vt:lpwstr>
  </property>
  <property fmtid="{D5CDD505-2E9C-101B-9397-08002B2CF9AE}" pid="6" name="_AuthorEmail">
    <vt:lpwstr>Marconi.Peixoto@willis.com</vt:lpwstr>
  </property>
  <property fmtid="{D5CDD505-2E9C-101B-9397-08002B2CF9AE}" pid="7" name="_AuthorEmailDisplayName">
    <vt:lpwstr>Peixoto, Marconi</vt:lpwstr>
  </property>
  <property fmtid="{D5CDD505-2E9C-101B-9397-08002B2CF9AE}" pid="8" name="_PreviousAdHocReviewCycleID">
    <vt:i4>-1810362473</vt:i4>
  </property>
</Properties>
</file>